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8"/>
  </p:notesMasterIdLst>
  <p:handoutMasterIdLst>
    <p:handoutMasterId r:id="rId19"/>
  </p:handoutMasterIdLst>
  <p:sldIdLst>
    <p:sldId id="256" r:id="rId6"/>
    <p:sldId id="923" r:id="rId7"/>
    <p:sldId id="915" r:id="rId8"/>
    <p:sldId id="345" r:id="rId9"/>
    <p:sldId id="916" r:id="rId10"/>
    <p:sldId id="917" r:id="rId11"/>
    <p:sldId id="918" r:id="rId12"/>
    <p:sldId id="924" r:id="rId13"/>
    <p:sldId id="919" r:id="rId14"/>
    <p:sldId id="921" r:id="rId15"/>
    <p:sldId id="280" r:id="rId16"/>
    <p:sldId id="920" r:id="rId17"/>
  </p:sldIdLst>
  <p:sldSz cx="12192000" cy="6858000"/>
  <p:notesSz cx="6794500" cy="9931400"/>
  <p:custDataLst>
    <p:tags r:id="rId20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FFDF"/>
    <a:srgbClr val="020000"/>
    <a:srgbClr val="F37163"/>
    <a:srgbClr val="0099FF"/>
    <a:srgbClr val="0CA1E4"/>
    <a:srgbClr val="009ED6"/>
    <a:srgbClr val="FC8484"/>
    <a:srgbClr val="0A0000"/>
    <a:srgbClr val="01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19" autoAdjust="0"/>
    <p:restoredTop sz="93979" autoAdjust="0"/>
  </p:normalViewPr>
  <p:slideViewPr>
    <p:cSldViewPr snapToGrid="0">
      <p:cViewPr>
        <p:scale>
          <a:sx n="90" d="100"/>
          <a:sy n="90" d="100"/>
        </p:scale>
        <p:origin x="1278" y="9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E8B04A4-126D-457B-A605-510C7B8EF4AB}" type="doc">
      <dgm:prSet loTypeId="urn:microsoft.com/office/officeart/2008/layout/LinedList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2DFD1950-2EBD-43D5-A80E-EE27074DC465}">
      <dgm:prSet/>
      <dgm:spPr/>
      <dgm:t>
        <a:bodyPr/>
        <a:lstStyle/>
        <a:p>
          <a:r>
            <a:rPr lang="nb-NO" dirty="0"/>
            <a:t>Hvordan skjer lønnsutvikling i staten?</a:t>
          </a:r>
          <a:endParaRPr lang="en-US" dirty="0"/>
        </a:p>
      </dgm:t>
    </dgm:pt>
    <dgm:pt modelId="{CD1B3362-17E9-416C-8686-9DD906EFD764}" type="parTrans" cxnId="{FF5093CC-70A3-4E1F-8C29-A93199EE73B8}">
      <dgm:prSet/>
      <dgm:spPr/>
      <dgm:t>
        <a:bodyPr/>
        <a:lstStyle/>
        <a:p>
          <a:endParaRPr lang="en-US"/>
        </a:p>
      </dgm:t>
    </dgm:pt>
    <dgm:pt modelId="{FBF7F9DF-3B5D-4CD1-A192-C056789DD74E}" type="sibTrans" cxnId="{FF5093CC-70A3-4E1F-8C29-A93199EE73B8}">
      <dgm:prSet/>
      <dgm:spPr/>
      <dgm:t>
        <a:bodyPr/>
        <a:lstStyle/>
        <a:p>
          <a:endParaRPr lang="en-US"/>
        </a:p>
      </dgm:t>
    </dgm:pt>
    <dgm:pt modelId="{A65AAD9A-B079-41DA-AC88-A7236A1F5E42}">
      <dgm:prSet/>
      <dgm:spPr/>
      <dgm:t>
        <a:bodyPr/>
        <a:lstStyle/>
        <a:p>
          <a:r>
            <a:rPr lang="nb-NO" dirty="0"/>
            <a:t>Hvordan settes den økonomiske rammen i det årlige lønnsoppgjøret?​</a:t>
          </a:r>
          <a:endParaRPr lang="en-US" dirty="0"/>
        </a:p>
      </dgm:t>
    </dgm:pt>
    <dgm:pt modelId="{415C85B5-524C-4B15-947B-30A4CF26E9A2}" type="parTrans" cxnId="{7416054C-E608-4AA2-937B-6727E6214893}">
      <dgm:prSet/>
      <dgm:spPr/>
      <dgm:t>
        <a:bodyPr/>
        <a:lstStyle/>
        <a:p>
          <a:endParaRPr lang="en-US"/>
        </a:p>
      </dgm:t>
    </dgm:pt>
    <dgm:pt modelId="{5C4FCDD0-0365-4E66-AD03-02190D57D1A6}" type="sibTrans" cxnId="{7416054C-E608-4AA2-937B-6727E6214893}">
      <dgm:prSet/>
      <dgm:spPr/>
      <dgm:t>
        <a:bodyPr/>
        <a:lstStyle/>
        <a:p>
          <a:endParaRPr lang="en-US"/>
        </a:p>
      </dgm:t>
    </dgm:pt>
    <dgm:pt modelId="{94295B76-B580-43A6-9007-88ECBABBA471}">
      <dgm:prSet/>
      <dgm:spPr/>
      <dgm:t>
        <a:bodyPr/>
        <a:lstStyle/>
        <a:p>
          <a:r>
            <a:rPr lang="nb-NO" dirty="0"/>
            <a:t>Hva er leders ansvar i årlige lokale lønnsforhandlinger?</a:t>
          </a:r>
          <a:endParaRPr lang="en-US" dirty="0"/>
        </a:p>
      </dgm:t>
    </dgm:pt>
    <dgm:pt modelId="{83E879DA-4582-4F7F-B645-315978C2A4A3}" type="parTrans" cxnId="{172467A4-33C6-40B3-A504-95BC00F2DB5B}">
      <dgm:prSet/>
      <dgm:spPr/>
      <dgm:t>
        <a:bodyPr/>
        <a:lstStyle/>
        <a:p>
          <a:endParaRPr lang="en-US"/>
        </a:p>
      </dgm:t>
    </dgm:pt>
    <dgm:pt modelId="{69AF5C35-ADA6-4562-B523-12AA805A2D78}" type="sibTrans" cxnId="{172467A4-33C6-40B3-A504-95BC00F2DB5B}">
      <dgm:prSet/>
      <dgm:spPr/>
      <dgm:t>
        <a:bodyPr/>
        <a:lstStyle/>
        <a:p>
          <a:endParaRPr lang="en-US"/>
        </a:p>
      </dgm:t>
    </dgm:pt>
    <dgm:pt modelId="{F2B67D3C-9944-46F1-9D53-DD8554A2EB10}">
      <dgm:prSet/>
      <dgm:spPr/>
      <dgm:t>
        <a:bodyPr/>
        <a:lstStyle/>
        <a:p>
          <a:pPr rtl="0"/>
          <a:r>
            <a:rPr lang="nb-NO" dirty="0"/>
            <a:t>Hvordan forberede en lønnssamtale?</a:t>
          </a:r>
          <a:r>
            <a:rPr lang="nb-NO" dirty="0">
              <a:latin typeface="Tw Cen MT Condensed" panose="020B0606020104020203"/>
            </a:rPr>
            <a:t> </a:t>
          </a:r>
          <a:endParaRPr lang="en-US" dirty="0"/>
        </a:p>
      </dgm:t>
    </dgm:pt>
    <dgm:pt modelId="{FD8AC665-46D3-4514-B884-84163492B0C0}" type="parTrans" cxnId="{155DED17-9481-4C64-9D4A-562EBC051548}">
      <dgm:prSet/>
      <dgm:spPr/>
      <dgm:t>
        <a:bodyPr/>
        <a:lstStyle/>
        <a:p>
          <a:endParaRPr lang="en-US"/>
        </a:p>
      </dgm:t>
    </dgm:pt>
    <dgm:pt modelId="{4CECF7C8-E51A-41B5-9F84-87AE37FA65EC}" type="sibTrans" cxnId="{155DED17-9481-4C64-9D4A-562EBC051548}">
      <dgm:prSet/>
      <dgm:spPr/>
      <dgm:t>
        <a:bodyPr/>
        <a:lstStyle/>
        <a:p>
          <a:endParaRPr lang="en-US"/>
        </a:p>
      </dgm:t>
    </dgm:pt>
    <dgm:pt modelId="{8EE74142-5EDD-4729-81B8-043D95D228CE}">
      <dgm:prSet/>
      <dgm:spPr/>
      <dgm:t>
        <a:bodyPr/>
        <a:lstStyle/>
        <a:p>
          <a:r>
            <a:rPr lang="nb-NO" dirty="0"/>
            <a:t>Hvordan gjennomføre en lønnssamtale?</a:t>
          </a:r>
          <a:endParaRPr lang="en-US" dirty="0"/>
        </a:p>
      </dgm:t>
    </dgm:pt>
    <dgm:pt modelId="{68858391-0C8A-4D0B-81C9-161AD8E1A087}" type="parTrans" cxnId="{BF9BB7A2-EAB9-4B32-9FA1-AA81825068C2}">
      <dgm:prSet/>
      <dgm:spPr/>
      <dgm:t>
        <a:bodyPr/>
        <a:lstStyle/>
        <a:p>
          <a:endParaRPr lang="en-US"/>
        </a:p>
      </dgm:t>
    </dgm:pt>
    <dgm:pt modelId="{6714E519-CB28-43D5-BE1D-5FD11F9216F8}" type="sibTrans" cxnId="{BF9BB7A2-EAB9-4B32-9FA1-AA81825068C2}">
      <dgm:prSet/>
      <dgm:spPr/>
      <dgm:t>
        <a:bodyPr/>
        <a:lstStyle/>
        <a:p>
          <a:endParaRPr lang="en-US"/>
        </a:p>
      </dgm:t>
    </dgm:pt>
    <dgm:pt modelId="{716CFD25-F16A-4D68-AA5C-D93BF1CD3847}">
      <dgm:prSet/>
      <dgm:spPr/>
      <dgm:t>
        <a:bodyPr/>
        <a:lstStyle/>
        <a:p>
          <a:r>
            <a:rPr lang="nb-NO" dirty="0"/>
            <a:t>Hva består den totale lønnspakken av?</a:t>
          </a:r>
          <a:endParaRPr lang="en-US" dirty="0"/>
        </a:p>
      </dgm:t>
    </dgm:pt>
    <dgm:pt modelId="{D94F0FE1-6403-4192-89F1-77922A1308BF}" type="parTrans" cxnId="{1D662752-C888-4520-B915-030B58BC1689}">
      <dgm:prSet/>
      <dgm:spPr/>
      <dgm:t>
        <a:bodyPr/>
        <a:lstStyle/>
        <a:p>
          <a:endParaRPr lang="en-US"/>
        </a:p>
      </dgm:t>
    </dgm:pt>
    <dgm:pt modelId="{3AB660ED-305C-42C9-98E6-5CF172FFA788}" type="sibTrans" cxnId="{1D662752-C888-4520-B915-030B58BC1689}">
      <dgm:prSet/>
      <dgm:spPr/>
      <dgm:t>
        <a:bodyPr/>
        <a:lstStyle/>
        <a:p>
          <a:endParaRPr lang="en-US"/>
        </a:p>
      </dgm:t>
    </dgm:pt>
    <dgm:pt modelId="{304574F2-305A-438E-8D48-845C65A32715}">
      <dgm:prSet/>
      <dgm:spPr/>
      <dgm:t>
        <a:bodyPr/>
        <a:lstStyle/>
        <a:p>
          <a:r>
            <a:rPr lang="nb-NO" dirty="0"/>
            <a:t>Nyttige lenker</a:t>
          </a:r>
          <a:endParaRPr lang="en-US" dirty="0"/>
        </a:p>
      </dgm:t>
    </dgm:pt>
    <dgm:pt modelId="{D5A1B798-0F97-48C6-92DA-3FCDA2D67EE1}" type="parTrans" cxnId="{DA6698E8-DBF6-46F7-809D-2FEA329E2D21}">
      <dgm:prSet/>
      <dgm:spPr/>
      <dgm:t>
        <a:bodyPr/>
        <a:lstStyle/>
        <a:p>
          <a:endParaRPr lang="en-US"/>
        </a:p>
      </dgm:t>
    </dgm:pt>
    <dgm:pt modelId="{E925103C-596F-4F88-A3A8-3F9295176312}" type="sibTrans" cxnId="{DA6698E8-DBF6-46F7-809D-2FEA329E2D21}">
      <dgm:prSet/>
      <dgm:spPr/>
      <dgm:t>
        <a:bodyPr/>
        <a:lstStyle/>
        <a:p>
          <a:endParaRPr lang="en-US"/>
        </a:p>
      </dgm:t>
    </dgm:pt>
    <dgm:pt modelId="{E09C37D2-4C47-410C-B161-92538F00D3C9}" type="pres">
      <dgm:prSet presAssocID="{FE8B04A4-126D-457B-A605-510C7B8EF4AB}" presName="vert0" presStyleCnt="0">
        <dgm:presLayoutVars>
          <dgm:dir/>
          <dgm:animOne val="branch"/>
          <dgm:animLvl val="lvl"/>
        </dgm:presLayoutVars>
      </dgm:prSet>
      <dgm:spPr/>
    </dgm:pt>
    <dgm:pt modelId="{5E3055BA-DA18-4F16-982B-1D08991DCBF8}" type="pres">
      <dgm:prSet presAssocID="{2DFD1950-2EBD-43D5-A80E-EE27074DC465}" presName="thickLine" presStyleLbl="alignNode1" presStyleIdx="0" presStyleCnt="7"/>
      <dgm:spPr/>
    </dgm:pt>
    <dgm:pt modelId="{5CFD1F43-9962-4EEF-96BD-95261A2A1BE6}" type="pres">
      <dgm:prSet presAssocID="{2DFD1950-2EBD-43D5-A80E-EE27074DC465}" presName="horz1" presStyleCnt="0"/>
      <dgm:spPr/>
    </dgm:pt>
    <dgm:pt modelId="{20DAD0C9-F74D-4811-95DD-D9C1693C8D7E}" type="pres">
      <dgm:prSet presAssocID="{2DFD1950-2EBD-43D5-A80E-EE27074DC465}" presName="tx1" presStyleLbl="revTx" presStyleIdx="0" presStyleCnt="7"/>
      <dgm:spPr/>
    </dgm:pt>
    <dgm:pt modelId="{FA7BDB0C-FED3-4B85-A906-729C9E1E5C56}" type="pres">
      <dgm:prSet presAssocID="{2DFD1950-2EBD-43D5-A80E-EE27074DC465}" presName="vert1" presStyleCnt="0"/>
      <dgm:spPr/>
    </dgm:pt>
    <dgm:pt modelId="{BF319805-E653-4DE6-9544-8EF1B88BE1FF}" type="pres">
      <dgm:prSet presAssocID="{A65AAD9A-B079-41DA-AC88-A7236A1F5E42}" presName="thickLine" presStyleLbl="alignNode1" presStyleIdx="1" presStyleCnt="7"/>
      <dgm:spPr/>
    </dgm:pt>
    <dgm:pt modelId="{7A42E300-8D4D-4E61-AC91-7628EF4D1A62}" type="pres">
      <dgm:prSet presAssocID="{A65AAD9A-B079-41DA-AC88-A7236A1F5E42}" presName="horz1" presStyleCnt="0"/>
      <dgm:spPr/>
    </dgm:pt>
    <dgm:pt modelId="{60B7C00E-6CD1-4FAC-8E03-78753DF68E32}" type="pres">
      <dgm:prSet presAssocID="{A65AAD9A-B079-41DA-AC88-A7236A1F5E42}" presName="tx1" presStyleLbl="revTx" presStyleIdx="1" presStyleCnt="7"/>
      <dgm:spPr/>
    </dgm:pt>
    <dgm:pt modelId="{D6DC6405-57BC-4856-9BFC-CA1EDD5B4757}" type="pres">
      <dgm:prSet presAssocID="{A65AAD9A-B079-41DA-AC88-A7236A1F5E42}" presName="vert1" presStyleCnt="0"/>
      <dgm:spPr/>
    </dgm:pt>
    <dgm:pt modelId="{128F2BA9-FF0E-4DB1-A249-3C66038F4017}" type="pres">
      <dgm:prSet presAssocID="{94295B76-B580-43A6-9007-88ECBABBA471}" presName="thickLine" presStyleLbl="alignNode1" presStyleIdx="2" presStyleCnt="7"/>
      <dgm:spPr/>
    </dgm:pt>
    <dgm:pt modelId="{2F4614B9-3B64-47D3-9456-F83876EC8BCD}" type="pres">
      <dgm:prSet presAssocID="{94295B76-B580-43A6-9007-88ECBABBA471}" presName="horz1" presStyleCnt="0"/>
      <dgm:spPr/>
    </dgm:pt>
    <dgm:pt modelId="{E023CFF5-8333-4BD2-91EB-FE710171D300}" type="pres">
      <dgm:prSet presAssocID="{94295B76-B580-43A6-9007-88ECBABBA471}" presName="tx1" presStyleLbl="revTx" presStyleIdx="2" presStyleCnt="7"/>
      <dgm:spPr/>
    </dgm:pt>
    <dgm:pt modelId="{CFA583E0-EC3B-4FDA-AA55-72FAE971D55E}" type="pres">
      <dgm:prSet presAssocID="{94295B76-B580-43A6-9007-88ECBABBA471}" presName="vert1" presStyleCnt="0"/>
      <dgm:spPr/>
    </dgm:pt>
    <dgm:pt modelId="{FB8D60CF-9771-4F5F-8B73-CDFF0DE4D71C}" type="pres">
      <dgm:prSet presAssocID="{F2B67D3C-9944-46F1-9D53-DD8554A2EB10}" presName="thickLine" presStyleLbl="alignNode1" presStyleIdx="3" presStyleCnt="7"/>
      <dgm:spPr/>
    </dgm:pt>
    <dgm:pt modelId="{B5262231-CBDD-45E7-BAE9-5A3D0CF7EA21}" type="pres">
      <dgm:prSet presAssocID="{F2B67D3C-9944-46F1-9D53-DD8554A2EB10}" presName="horz1" presStyleCnt="0"/>
      <dgm:spPr/>
    </dgm:pt>
    <dgm:pt modelId="{331D5300-B346-4EC7-9026-F3113B3385E1}" type="pres">
      <dgm:prSet presAssocID="{F2B67D3C-9944-46F1-9D53-DD8554A2EB10}" presName="tx1" presStyleLbl="revTx" presStyleIdx="3" presStyleCnt="7"/>
      <dgm:spPr/>
    </dgm:pt>
    <dgm:pt modelId="{4C14B302-133E-4106-BE23-FDBB82B576B7}" type="pres">
      <dgm:prSet presAssocID="{F2B67D3C-9944-46F1-9D53-DD8554A2EB10}" presName="vert1" presStyleCnt="0"/>
      <dgm:spPr/>
    </dgm:pt>
    <dgm:pt modelId="{F96F6AC9-9580-4EBE-8411-77668734F8AF}" type="pres">
      <dgm:prSet presAssocID="{8EE74142-5EDD-4729-81B8-043D95D228CE}" presName="thickLine" presStyleLbl="alignNode1" presStyleIdx="4" presStyleCnt="7"/>
      <dgm:spPr/>
    </dgm:pt>
    <dgm:pt modelId="{91A762CA-F3C2-4CD3-8012-D45CC476FD77}" type="pres">
      <dgm:prSet presAssocID="{8EE74142-5EDD-4729-81B8-043D95D228CE}" presName="horz1" presStyleCnt="0"/>
      <dgm:spPr/>
    </dgm:pt>
    <dgm:pt modelId="{E1DC55F4-B3FF-4732-8834-BB4F9C1D8D36}" type="pres">
      <dgm:prSet presAssocID="{8EE74142-5EDD-4729-81B8-043D95D228CE}" presName="tx1" presStyleLbl="revTx" presStyleIdx="4" presStyleCnt="7"/>
      <dgm:spPr/>
    </dgm:pt>
    <dgm:pt modelId="{AB57473A-136E-44C1-AB92-41A82D3D78E2}" type="pres">
      <dgm:prSet presAssocID="{8EE74142-5EDD-4729-81B8-043D95D228CE}" presName="vert1" presStyleCnt="0"/>
      <dgm:spPr/>
    </dgm:pt>
    <dgm:pt modelId="{0C233D35-E95A-48F1-A97E-3A3F849C910D}" type="pres">
      <dgm:prSet presAssocID="{716CFD25-F16A-4D68-AA5C-D93BF1CD3847}" presName="thickLine" presStyleLbl="alignNode1" presStyleIdx="5" presStyleCnt="7"/>
      <dgm:spPr/>
    </dgm:pt>
    <dgm:pt modelId="{DFAF20D9-0A0A-43EA-AC54-3169B5DA3C8F}" type="pres">
      <dgm:prSet presAssocID="{716CFD25-F16A-4D68-AA5C-D93BF1CD3847}" presName="horz1" presStyleCnt="0"/>
      <dgm:spPr/>
    </dgm:pt>
    <dgm:pt modelId="{A7853978-7E06-4BFE-BBCE-DCEF7E9B211A}" type="pres">
      <dgm:prSet presAssocID="{716CFD25-F16A-4D68-AA5C-D93BF1CD3847}" presName="tx1" presStyleLbl="revTx" presStyleIdx="5" presStyleCnt="7"/>
      <dgm:spPr/>
    </dgm:pt>
    <dgm:pt modelId="{E95F037E-13C0-452D-A8C0-228A40BFBBC6}" type="pres">
      <dgm:prSet presAssocID="{716CFD25-F16A-4D68-AA5C-D93BF1CD3847}" presName="vert1" presStyleCnt="0"/>
      <dgm:spPr/>
    </dgm:pt>
    <dgm:pt modelId="{C366CE20-2D18-4DEA-88E2-A9281436262C}" type="pres">
      <dgm:prSet presAssocID="{304574F2-305A-438E-8D48-845C65A32715}" presName="thickLine" presStyleLbl="alignNode1" presStyleIdx="6" presStyleCnt="7"/>
      <dgm:spPr/>
    </dgm:pt>
    <dgm:pt modelId="{4A720E2C-4655-4647-B251-F8E9E3381CD7}" type="pres">
      <dgm:prSet presAssocID="{304574F2-305A-438E-8D48-845C65A32715}" presName="horz1" presStyleCnt="0"/>
      <dgm:spPr/>
    </dgm:pt>
    <dgm:pt modelId="{09AAD428-9607-4402-A07E-2F59F7FE0689}" type="pres">
      <dgm:prSet presAssocID="{304574F2-305A-438E-8D48-845C65A32715}" presName="tx1" presStyleLbl="revTx" presStyleIdx="6" presStyleCnt="7"/>
      <dgm:spPr/>
    </dgm:pt>
    <dgm:pt modelId="{B02F5DBF-D52C-4925-8233-7DBA5E321EE5}" type="pres">
      <dgm:prSet presAssocID="{304574F2-305A-438E-8D48-845C65A32715}" presName="vert1" presStyleCnt="0"/>
      <dgm:spPr/>
    </dgm:pt>
  </dgm:ptLst>
  <dgm:cxnLst>
    <dgm:cxn modelId="{C61B7B12-3EE6-4ACA-A5DD-B345B938C43C}" type="presOf" srcId="{A65AAD9A-B079-41DA-AC88-A7236A1F5E42}" destId="{60B7C00E-6CD1-4FAC-8E03-78753DF68E32}" srcOrd="0" destOrd="0" presId="urn:microsoft.com/office/officeart/2008/layout/LinedList"/>
    <dgm:cxn modelId="{155DED17-9481-4C64-9D4A-562EBC051548}" srcId="{FE8B04A4-126D-457B-A605-510C7B8EF4AB}" destId="{F2B67D3C-9944-46F1-9D53-DD8554A2EB10}" srcOrd="3" destOrd="0" parTransId="{FD8AC665-46D3-4514-B884-84163492B0C0}" sibTransId="{4CECF7C8-E51A-41B5-9F84-87AE37FA65EC}"/>
    <dgm:cxn modelId="{9FE45140-038B-4D26-984D-2F73EDC0FEAC}" type="presOf" srcId="{8EE74142-5EDD-4729-81B8-043D95D228CE}" destId="{E1DC55F4-B3FF-4732-8834-BB4F9C1D8D36}" srcOrd="0" destOrd="0" presId="urn:microsoft.com/office/officeart/2008/layout/LinedList"/>
    <dgm:cxn modelId="{0103AF69-B32A-428A-BAA0-264C6C51D963}" type="presOf" srcId="{716CFD25-F16A-4D68-AA5C-D93BF1CD3847}" destId="{A7853978-7E06-4BFE-BBCE-DCEF7E9B211A}" srcOrd="0" destOrd="0" presId="urn:microsoft.com/office/officeart/2008/layout/LinedList"/>
    <dgm:cxn modelId="{7416054C-E608-4AA2-937B-6727E6214893}" srcId="{FE8B04A4-126D-457B-A605-510C7B8EF4AB}" destId="{A65AAD9A-B079-41DA-AC88-A7236A1F5E42}" srcOrd="1" destOrd="0" parTransId="{415C85B5-524C-4B15-947B-30A4CF26E9A2}" sibTransId="{5C4FCDD0-0365-4E66-AD03-02190D57D1A6}"/>
    <dgm:cxn modelId="{1D662752-C888-4520-B915-030B58BC1689}" srcId="{FE8B04A4-126D-457B-A605-510C7B8EF4AB}" destId="{716CFD25-F16A-4D68-AA5C-D93BF1CD3847}" srcOrd="5" destOrd="0" parTransId="{D94F0FE1-6403-4192-89F1-77922A1308BF}" sibTransId="{3AB660ED-305C-42C9-98E6-5CF172FFA788}"/>
    <dgm:cxn modelId="{CB5C2982-8CE5-44CE-8D34-917CD18055DC}" type="presOf" srcId="{304574F2-305A-438E-8D48-845C65A32715}" destId="{09AAD428-9607-4402-A07E-2F59F7FE0689}" srcOrd="0" destOrd="0" presId="urn:microsoft.com/office/officeart/2008/layout/LinedList"/>
    <dgm:cxn modelId="{BF9BB7A2-EAB9-4B32-9FA1-AA81825068C2}" srcId="{FE8B04A4-126D-457B-A605-510C7B8EF4AB}" destId="{8EE74142-5EDD-4729-81B8-043D95D228CE}" srcOrd="4" destOrd="0" parTransId="{68858391-0C8A-4D0B-81C9-161AD8E1A087}" sibTransId="{6714E519-CB28-43D5-BE1D-5FD11F9216F8}"/>
    <dgm:cxn modelId="{172467A4-33C6-40B3-A504-95BC00F2DB5B}" srcId="{FE8B04A4-126D-457B-A605-510C7B8EF4AB}" destId="{94295B76-B580-43A6-9007-88ECBABBA471}" srcOrd="2" destOrd="0" parTransId="{83E879DA-4582-4F7F-B645-315978C2A4A3}" sibTransId="{69AF5C35-ADA6-4562-B523-12AA805A2D78}"/>
    <dgm:cxn modelId="{4D35E6AF-57C4-41E0-9083-C939080572C8}" type="presOf" srcId="{2DFD1950-2EBD-43D5-A80E-EE27074DC465}" destId="{20DAD0C9-F74D-4811-95DD-D9C1693C8D7E}" srcOrd="0" destOrd="0" presId="urn:microsoft.com/office/officeart/2008/layout/LinedList"/>
    <dgm:cxn modelId="{FF5093CC-70A3-4E1F-8C29-A93199EE73B8}" srcId="{FE8B04A4-126D-457B-A605-510C7B8EF4AB}" destId="{2DFD1950-2EBD-43D5-A80E-EE27074DC465}" srcOrd="0" destOrd="0" parTransId="{CD1B3362-17E9-416C-8686-9DD906EFD764}" sibTransId="{FBF7F9DF-3B5D-4CD1-A192-C056789DD74E}"/>
    <dgm:cxn modelId="{1FCC3CD9-C919-4773-AD20-A0CA5BCC0725}" type="presOf" srcId="{F2B67D3C-9944-46F1-9D53-DD8554A2EB10}" destId="{331D5300-B346-4EC7-9026-F3113B3385E1}" srcOrd="0" destOrd="0" presId="urn:microsoft.com/office/officeart/2008/layout/LinedList"/>
    <dgm:cxn modelId="{DA6698E8-DBF6-46F7-809D-2FEA329E2D21}" srcId="{FE8B04A4-126D-457B-A605-510C7B8EF4AB}" destId="{304574F2-305A-438E-8D48-845C65A32715}" srcOrd="6" destOrd="0" parTransId="{D5A1B798-0F97-48C6-92DA-3FCDA2D67EE1}" sibTransId="{E925103C-596F-4F88-A3A8-3F9295176312}"/>
    <dgm:cxn modelId="{7A766CEF-D0B5-47E7-9CF5-C76B3846E8AE}" type="presOf" srcId="{FE8B04A4-126D-457B-A605-510C7B8EF4AB}" destId="{E09C37D2-4C47-410C-B161-92538F00D3C9}" srcOrd="0" destOrd="0" presId="urn:microsoft.com/office/officeart/2008/layout/LinedList"/>
    <dgm:cxn modelId="{8BB33DFB-580A-48F8-8C1A-3447C444A34E}" type="presOf" srcId="{94295B76-B580-43A6-9007-88ECBABBA471}" destId="{E023CFF5-8333-4BD2-91EB-FE710171D300}" srcOrd="0" destOrd="0" presId="urn:microsoft.com/office/officeart/2008/layout/LinedList"/>
    <dgm:cxn modelId="{DABB464F-CF33-4CC3-AE05-4BAD04CA7A4B}" type="presParOf" srcId="{E09C37D2-4C47-410C-B161-92538F00D3C9}" destId="{5E3055BA-DA18-4F16-982B-1D08991DCBF8}" srcOrd="0" destOrd="0" presId="urn:microsoft.com/office/officeart/2008/layout/LinedList"/>
    <dgm:cxn modelId="{8C6C195F-C2B9-4BAF-BC4D-9D346AE6F7A8}" type="presParOf" srcId="{E09C37D2-4C47-410C-B161-92538F00D3C9}" destId="{5CFD1F43-9962-4EEF-96BD-95261A2A1BE6}" srcOrd="1" destOrd="0" presId="urn:microsoft.com/office/officeart/2008/layout/LinedList"/>
    <dgm:cxn modelId="{013327E9-09E3-42D2-9D24-119488D7C66C}" type="presParOf" srcId="{5CFD1F43-9962-4EEF-96BD-95261A2A1BE6}" destId="{20DAD0C9-F74D-4811-95DD-D9C1693C8D7E}" srcOrd="0" destOrd="0" presId="urn:microsoft.com/office/officeart/2008/layout/LinedList"/>
    <dgm:cxn modelId="{4A205ADB-D98C-4418-80AD-9F20DBD28DF1}" type="presParOf" srcId="{5CFD1F43-9962-4EEF-96BD-95261A2A1BE6}" destId="{FA7BDB0C-FED3-4B85-A906-729C9E1E5C56}" srcOrd="1" destOrd="0" presId="urn:microsoft.com/office/officeart/2008/layout/LinedList"/>
    <dgm:cxn modelId="{344E9002-AFF9-4DFA-A6C7-783671990E37}" type="presParOf" srcId="{E09C37D2-4C47-410C-B161-92538F00D3C9}" destId="{BF319805-E653-4DE6-9544-8EF1B88BE1FF}" srcOrd="2" destOrd="0" presId="urn:microsoft.com/office/officeart/2008/layout/LinedList"/>
    <dgm:cxn modelId="{FEC20250-5F2A-49AA-BEE4-521B1EF30FCF}" type="presParOf" srcId="{E09C37D2-4C47-410C-B161-92538F00D3C9}" destId="{7A42E300-8D4D-4E61-AC91-7628EF4D1A62}" srcOrd="3" destOrd="0" presId="urn:microsoft.com/office/officeart/2008/layout/LinedList"/>
    <dgm:cxn modelId="{EA4B2D5D-00B1-45D8-9D2E-2F2F242CCAE5}" type="presParOf" srcId="{7A42E300-8D4D-4E61-AC91-7628EF4D1A62}" destId="{60B7C00E-6CD1-4FAC-8E03-78753DF68E32}" srcOrd="0" destOrd="0" presId="urn:microsoft.com/office/officeart/2008/layout/LinedList"/>
    <dgm:cxn modelId="{764A5FC9-B12F-45C4-805C-6D9314E73A24}" type="presParOf" srcId="{7A42E300-8D4D-4E61-AC91-7628EF4D1A62}" destId="{D6DC6405-57BC-4856-9BFC-CA1EDD5B4757}" srcOrd="1" destOrd="0" presId="urn:microsoft.com/office/officeart/2008/layout/LinedList"/>
    <dgm:cxn modelId="{64B3880A-952A-4869-8C04-1B43AB47AC39}" type="presParOf" srcId="{E09C37D2-4C47-410C-B161-92538F00D3C9}" destId="{128F2BA9-FF0E-4DB1-A249-3C66038F4017}" srcOrd="4" destOrd="0" presId="urn:microsoft.com/office/officeart/2008/layout/LinedList"/>
    <dgm:cxn modelId="{1EB9EEEE-477B-4694-A873-3A080A05ACCA}" type="presParOf" srcId="{E09C37D2-4C47-410C-B161-92538F00D3C9}" destId="{2F4614B9-3B64-47D3-9456-F83876EC8BCD}" srcOrd="5" destOrd="0" presId="urn:microsoft.com/office/officeart/2008/layout/LinedList"/>
    <dgm:cxn modelId="{6A5CF5F1-D08C-4060-8B4B-0E989BB97E6B}" type="presParOf" srcId="{2F4614B9-3B64-47D3-9456-F83876EC8BCD}" destId="{E023CFF5-8333-4BD2-91EB-FE710171D300}" srcOrd="0" destOrd="0" presId="urn:microsoft.com/office/officeart/2008/layout/LinedList"/>
    <dgm:cxn modelId="{E837B6C7-AE99-4D23-9701-8553AB90D350}" type="presParOf" srcId="{2F4614B9-3B64-47D3-9456-F83876EC8BCD}" destId="{CFA583E0-EC3B-4FDA-AA55-72FAE971D55E}" srcOrd="1" destOrd="0" presId="urn:microsoft.com/office/officeart/2008/layout/LinedList"/>
    <dgm:cxn modelId="{F34F6EB3-8373-488E-82B8-2A74E8B6B9BA}" type="presParOf" srcId="{E09C37D2-4C47-410C-B161-92538F00D3C9}" destId="{FB8D60CF-9771-4F5F-8B73-CDFF0DE4D71C}" srcOrd="6" destOrd="0" presId="urn:microsoft.com/office/officeart/2008/layout/LinedList"/>
    <dgm:cxn modelId="{CA8A180B-57ED-4689-81F9-0B4AA65D514E}" type="presParOf" srcId="{E09C37D2-4C47-410C-B161-92538F00D3C9}" destId="{B5262231-CBDD-45E7-BAE9-5A3D0CF7EA21}" srcOrd="7" destOrd="0" presId="urn:microsoft.com/office/officeart/2008/layout/LinedList"/>
    <dgm:cxn modelId="{8B29DBD2-1264-42DE-9028-0A969A0B7910}" type="presParOf" srcId="{B5262231-CBDD-45E7-BAE9-5A3D0CF7EA21}" destId="{331D5300-B346-4EC7-9026-F3113B3385E1}" srcOrd="0" destOrd="0" presId="urn:microsoft.com/office/officeart/2008/layout/LinedList"/>
    <dgm:cxn modelId="{CE6E30F7-4058-4E47-8F8E-BC55BA486529}" type="presParOf" srcId="{B5262231-CBDD-45E7-BAE9-5A3D0CF7EA21}" destId="{4C14B302-133E-4106-BE23-FDBB82B576B7}" srcOrd="1" destOrd="0" presId="urn:microsoft.com/office/officeart/2008/layout/LinedList"/>
    <dgm:cxn modelId="{D42A77EB-438A-4ABA-831A-C39B634A8575}" type="presParOf" srcId="{E09C37D2-4C47-410C-B161-92538F00D3C9}" destId="{F96F6AC9-9580-4EBE-8411-77668734F8AF}" srcOrd="8" destOrd="0" presId="urn:microsoft.com/office/officeart/2008/layout/LinedList"/>
    <dgm:cxn modelId="{B65F7A20-6461-47D2-8D8E-C578693C4A86}" type="presParOf" srcId="{E09C37D2-4C47-410C-B161-92538F00D3C9}" destId="{91A762CA-F3C2-4CD3-8012-D45CC476FD77}" srcOrd="9" destOrd="0" presId="urn:microsoft.com/office/officeart/2008/layout/LinedList"/>
    <dgm:cxn modelId="{49570B3D-66E9-49D7-90A6-1D89B07FA7D2}" type="presParOf" srcId="{91A762CA-F3C2-4CD3-8012-D45CC476FD77}" destId="{E1DC55F4-B3FF-4732-8834-BB4F9C1D8D36}" srcOrd="0" destOrd="0" presId="urn:microsoft.com/office/officeart/2008/layout/LinedList"/>
    <dgm:cxn modelId="{43AA0FE7-B1B9-4C1E-90FC-A1F8041F96E6}" type="presParOf" srcId="{91A762CA-F3C2-4CD3-8012-D45CC476FD77}" destId="{AB57473A-136E-44C1-AB92-41A82D3D78E2}" srcOrd="1" destOrd="0" presId="urn:microsoft.com/office/officeart/2008/layout/LinedList"/>
    <dgm:cxn modelId="{330A4922-D100-4800-B54B-C10757C1815A}" type="presParOf" srcId="{E09C37D2-4C47-410C-B161-92538F00D3C9}" destId="{0C233D35-E95A-48F1-A97E-3A3F849C910D}" srcOrd="10" destOrd="0" presId="urn:microsoft.com/office/officeart/2008/layout/LinedList"/>
    <dgm:cxn modelId="{4BD930C1-59B7-479D-960A-64E7BACB20D8}" type="presParOf" srcId="{E09C37D2-4C47-410C-B161-92538F00D3C9}" destId="{DFAF20D9-0A0A-43EA-AC54-3169B5DA3C8F}" srcOrd="11" destOrd="0" presId="urn:microsoft.com/office/officeart/2008/layout/LinedList"/>
    <dgm:cxn modelId="{E0678418-7704-4DA2-8724-B1C69C0151BB}" type="presParOf" srcId="{DFAF20D9-0A0A-43EA-AC54-3169B5DA3C8F}" destId="{A7853978-7E06-4BFE-BBCE-DCEF7E9B211A}" srcOrd="0" destOrd="0" presId="urn:microsoft.com/office/officeart/2008/layout/LinedList"/>
    <dgm:cxn modelId="{3F4288A1-3A16-4705-BD7C-5E9F9F1806B7}" type="presParOf" srcId="{DFAF20D9-0A0A-43EA-AC54-3169B5DA3C8F}" destId="{E95F037E-13C0-452D-A8C0-228A40BFBBC6}" srcOrd="1" destOrd="0" presId="urn:microsoft.com/office/officeart/2008/layout/LinedList"/>
    <dgm:cxn modelId="{7C851860-8285-4B36-A71A-B1EA47DD7725}" type="presParOf" srcId="{E09C37D2-4C47-410C-B161-92538F00D3C9}" destId="{C366CE20-2D18-4DEA-88E2-A9281436262C}" srcOrd="12" destOrd="0" presId="urn:microsoft.com/office/officeart/2008/layout/LinedList"/>
    <dgm:cxn modelId="{BB4DC47D-564D-47AE-8A39-A742A5F75E06}" type="presParOf" srcId="{E09C37D2-4C47-410C-B161-92538F00D3C9}" destId="{4A720E2C-4655-4647-B251-F8E9E3381CD7}" srcOrd="13" destOrd="0" presId="urn:microsoft.com/office/officeart/2008/layout/LinedList"/>
    <dgm:cxn modelId="{33A1410C-FCF2-4100-A453-0EE64687D011}" type="presParOf" srcId="{4A720E2C-4655-4647-B251-F8E9E3381CD7}" destId="{09AAD428-9607-4402-A07E-2F59F7FE0689}" srcOrd="0" destOrd="0" presId="urn:microsoft.com/office/officeart/2008/layout/LinedList"/>
    <dgm:cxn modelId="{A438CB2B-9E53-49FA-BB50-829B29B18239}" type="presParOf" srcId="{4A720E2C-4655-4647-B251-F8E9E3381CD7}" destId="{B02F5DBF-D52C-4925-8233-7DBA5E321EE5}" srcOrd="1" destOrd="0" presId="urn:microsoft.com/office/officeart/2008/layout/LinedList"/>
  </dgm:cxnLst>
  <dgm:bg>
    <a:solidFill>
      <a:schemeClr val="bg1"/>
    </a:solidFill>
  </dgm:bg>
  <dgm:whole>
    <a:ln>
      <a:solidFill>
        <a:schemeClr val="accent3"/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1FA7C7F-8555-461E-8F0C-2B93A83F937E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5E5D00B5-5C92-4899-98AB-986D7BE96CED}">
      <dgm:prSet phldrT="[Tekst]"/>
      <dgm:spPr/>
      <dgm:t>
        <a:bodyPr/>
        <a:lstStyle/>
        <a:p>
          <a:r>
            <a:rPr lang="nb-NO" b="1" dirty="0"/>
            <a:t>Lønn ved ansettelse</a:t>
          </a:r>
        </a:p>
      </dgm:t>
    </dgm:pt>
    <dgm:pt modelId="{0A04BCE7-F509-4851-A4D8-FA00B429A566}" type="parTrans" cxnId="{9CB8F5E0-99A1-40D0-8B5D-205762A35C54}">
      <dgm:prSet/>
      <dgm:spPr/>
      <dgm:t>
        <a:bodyPr/>
        <a:lstStyle/>
        <a:p>
          <a:endParaRPr lang="nb-NO"/>
        </a:p>
      </dgm:t>
    </dgm:pt>
    <dgm:pt modelId="{C7DA6D42-5F2F-49F1-9A4C-D6C94EAFD29B}" type="sibTrans" cxnId="{9CB8F5E0-99A1-40D0-8B5D-205762A35C54}">
      <dgm:prSet/>
      <dgm:spPr/>
      <dgm:t>
        <a:bodyPr/>
        <a:lstStyle/>
        <a:p>
          <a:endParaRPr lang="nb-NO"/>
        </a:p>
      </dgm:t>
    </dgm:pt>
    <dgm:pt modelId="{D5E11CAE-80DE-422C-A41A-18176E591266}">
      <dgm:prSet phldrT="[Tekst]"/>
      <dgm:spPr/>
      <dgm:t>
        <a:bodyPr/>
        <a:lstStyle/>
        <a:p>
          <a:r>
            <a:rPr lang="nb-NO" b="1" dirty="0"/>
            <a:t>Eventuell lønnsjustering innen de første 12.mnd.</a:t>
          </a:r>
        </a:p>
        <a:p>
          <a:r>
            <a:rPr lang="nb-NO" b="1" dirty="0"/>
            <a:t>av ansettelsen (2.5.5)</a:t>
          </a:r>
          <a:endParaRPr lang="nb-NO" dirty="0"/>
        </a:p>
        <a:p>
          <a:endParaRPr lang="nb-NO" dirty="0"/>
        </a:p>
      </dgm:t>
    </dgm:pt>
    <dgm:pt modelId="{55E81B62-DABE-4B84-B7DB-1672801D3080}" type="parTrans" cxnId="{7A7AB056-BAF5-4FB8-8301-95D603E3A4D5}">
      <dgm:prSet/>
      <dgm:spPr/>
      <dgm:t>
        <a:bodyPr/>
        <a:lstStyle/>
        <a:p>
          <a:endParaRPr lang="nb-NO"/>
        </a:p>
      </dgm:t>
    </dgm:pt>
    <dgm:pt modelId="{9442DE1E-B6E8-41B6-B860-C2034F5D0CC0}" type="sibTrans" cxnId="{7A7AB056-BAF5-4FB8-8301-95D603E3A4D5}">
      <dgm:prSet/>
      <dgm:spPr/>
      <dgm:t>
        <a:bodyPr/>
        <a:lstStyle/>
        <a:p>
          <a:endParaRPr lang="nb-NO"/>
        </a:p>
      </dgm:t>
    </dgm:pt>
    <dgm:pt modelId="{114544EA-1700-4095-9EC4-49F26F62AC54}">
      <dgm:prSet phldrT="[Tekst]"/>
      <dgm:spPr/>
      <dgm:t>
        <a:bodyPr/>
        <a:lstStyle/>
        <a:p>
          <a:r>
            <a:rPr lang="nb-NO" b="1" dirty="0"/>
            <a:t>Årlige sentrale forhandlinger i staten</a:t>
          </a:r>
        </a:p>
      </dgm:t>
    </dgm:pt>
    <dgm:pt modelId="{84C3D3A2-7BB3-4EDB-A1B6-C9824695FEFA}" type="parTrans" cxnId="{436FCDB8-D788-47DA-B94E-8F71AF4F0B3C}">
      <dgm:prSet/>
      <dgm:spPr/>
      <dgm:t>
        <a:bodyPr/>
        <a:lstStyle/>
        <a:p>
          <a:endParaRPr lang="nb-NO"/>
        </a:p>
      </dgm:t>
    </dgm:pt>
    <dgm:pt modelId="{C81364C8-90AB-4899-BCE5-22325BC045D9}" type="sibTrans" cxnId="{436FCDB8-D788-47DA-B94E-8F71AF4F0B3C}">
      <dgm:prSet/>
      <dgm:spPr/>
      <dgm:t>
        <a:bodyPr/>
        <a:lstStyle/>
        <a:p>
          <a:endParaRPr lang="nb-NO"/>
        </a:p>
      </dgm:t>
    </dgm:pt>
    <dgm:pt modelId="{FF87360F-0347-48C9-8608-9E9D90903258}">
      <dgm:prSet phldrT="[Tekst]"/>
      <dgm:spPr/>
      <dgm:t>
        <a:bodyPr/>
        <a:lstStyle/>
        <a:p>
          <a:r>
            <a:rPr lang="nb-NO" b="1" dirty="0"/>
            <a:t>Lokale forhandlinger i virksomheten (2.5.1)</a:t>
          </a:r>
        </a:p>
        <a:p>
          <a:endParaRPr lang="nb-NO" b="1" dirty="0"/>
        </a:p>
      </dgm:t>
    </dgm:pt>
    <dgm:pt modelId="{C0E805E4-9A07-47AD-B474-132C8F8A27F1}" type="parTrans" cxnId="{661D389A-C53B-4E91-905A-D22556FEE4D3}">
      <dgm:prSet/>
      <dgm:spPr/>
      <dgm:t>
        <a:bodyPr/>
        <a:lstStyle/>
        <a:p>
          <a:endParaRPr lang="nb-NO"/>
        </a:p>
      </dgm:t>
    </dgm:pt>
    <dgm:pt modelId="{9B14D5CF-73FE-4884-9D91-7BCFAA475451}" type="sibTrans" cxnId="{661D389A-C53B-4E91-905A-D22556FEE4D3}">
      <dgm:prSet/>
      <dgm:spPr/>
      <dgm:t>
        <a:bodyPr/>
        <a:lstStyle/>
        <a:p>
          <a:endParaRPr lang="nb-NO"/>
        </a:p>
      </dgm:t>
    </dgm:pt>
    <dgm:pt modelId="{49F7E2F9-143A-4FAF-9BC7-33F578E94A23}">
      <dgm:prSet phldrT="[Tekst]"/>
      <dgm:spPr/>
      <dgm:t>
        <a:bodyPr/>
        <a:lstStyle/>
        <a:p>
          <a:r>
            <a:rPr lang="nb-NO" b="1" dirty="0"/>
            <a:t>Forhandlinger på særlig grunnlag (2.5.3):</a:t>
          </a:r>
        </a:p>
        <a:p>
          <a:r>
            <a:rPr lang="nb-NO" dirty="0"/>
            <a:t>- Vesentlige endringer i stillingen</a:t>
          </a:r>
        </a:p>
        <a:p>
          <a:r>
            <a:rPr lang="nb-NO" dirty="0"/>
            <a:t>- Rekruttere eller beholde</a:t>
          </a:r>
        </a:p>
        <a:p>
          <a:r>
            <a:rPr lang="nb-NO" dirty="0"/>
            <a:t>- Ekstraordinær innsats</a:t>
          </a:r>
        </a:p>
      </dgm:t>
    </dgm:pt>
    <dgm:pt modelId="{F95DCDBF-F705-49A4-B90A-C63EAF4005BB}" type="parTrans" cxnId="{20554418-6789-40A0-9987-47AF408673C4}">
      <dgm:prSet/>
      <dgm:spPr/>
      <dgm:t>
        <a:bodyPr/>
        <a:lstStyle/>
        <a:p>
          <a:endParaRPr lang="nb-NO"/>
        </a:p>
      </dgm:t>
    </dgm:pt>
    <dgm:pt modelId="{041A9F54-0398-4316-8249-1B9E1EAEEA9B}" type="sibTrans" cxnId="{20554418-6789-40A0-9987-47AF408673C4}">
      <dgm:prSet/>
      <dgm:spPr/>
      <dgm:t>
        <a:bodyPr/>
        <a:lstStyle/>
        <a:p>
          <a:endParaRPr lang="nb-NO"/>
        </a:p>
      </dgm:t>
    </dgm:pt>
    <dgm:pt modelId="{E1DC8F4A-781C-411A-B540-533DDD1F2BD8}" type="pres">
      <dgm:prSet presAssocID="{E1FA7C7F-8555-461E-8F0C-2B93A83F937E}" presName="Name0" presStyleCnt="0">
        <dgm:presLayoutVars>
          <dgm:dir/>
          <dgm:resizeHandles val="exact"/>
        </dgm:presLayoutVars>
      </dgm:prSet>
      <dgm:spPr/>
    </dgm:pt>
    <dgm:pt modelId="{CB1B61A4-97FF-4FFF-8757-EE00E2CED583}" type="pres">
      <dgm:prSet presAssocID="{E1FA7C7F-8555-461E-8F0C-2B93A83F937E}" presName="arrow" presStyleLbl="bgShp" presStyleIdx="0" presStyleCnt="1"/>
      <dgm:spPr/>
    </dgm:pt>
    <dgm:pt modelId="{52972D78-4DE3-4F88-B0CB-4CE36E2E5A90}" type="pres">
      <dgm:prSet presAssocID="{E1FA7C7F-8555-461E-8F0C-2B93A83F937E}" presName="points" presStyleCnt="0"/>
      <dgm:spPr/>
    </dgm:pt>
    <dgm:pt modelId="{F7335943-8C94-4158-87E9-13EE90D6E0CB}" type="pres">
      <dgm:prSet presAssocID="{5E5D00B5-5C92-4899-98AB-986D7BE96CED}" presName="compositeA" presStyleCnt="0"/>
      <dgm:spPr/>
    </dgm:pt>
    <dgm:pt modelId="{1F330875-E1F8-4B8F-BFA9-3481B5843558}" type="pres">
      <dgm:prSet presAssocID="{5E5D00B5-5C92-4899-98AB-986D7BE96CED}" presName="textA" presStyleLbl="revTx" presStyleIdx="0" presStyleCnt="5">
        <dgm:presLayoutVars>
          <dgm:bulletEnabled val="1"/>
        </dgm:presLayoutVars>
      </dgm:prSet>
      <dgm:spPr/>
    </dgm:pt>
    <dgm:pt modelId="{39EB0895-E194-4188-8C9F-1500D2EA6B93}" type="pres">
      <dgm:prSet presAssocID="{5E5D00B5-5C92-4899-98AB-986D7BE96CED}" presName="circleA" presStyleLbl="node1" presStyleIdx="0" presStyleCnt="5"/>
      <dgm:spPr/>
    </dgm:pt>
    <dgm:pt modelId="{166D4126-2B70-412A-9DE4-E017A8720B5D}" type="pres">
      <dgm:prSet presAssocID="{5E5D00B5-5C92-4899-98AB-986D7BE96CED}" presName="spaceA" presStyleCnt="0"/>
      <dgm:spPr/>
    </dgm:pt>
    <dgm:pt modelId="{B751BB31-3763-4AA1-AAFF-73EB31BD0AB9}" type="pres">
      <dgm:prSet presAssocID="{C7DA6D42-5F2F-49F1-9A4C-D6C94EAFD29B}" presName="space" presStyleCnt="0"/>
      <dgm:spPr/>
    </dgm:pt>
    <dgm:pt modelId="{637A311F-5E8F-4E8E-8EF8-A2DEFD61109A}" type="pres">
      <dgm:prSet presAssocID="{D5E11CAE-80DE-422C-A41A-18176E591266}" presName="compositeB" presStyleCnt="0"/>
      <dgm:spPr/>
    </dgm:pt>
    <dgm:pt modelId="{A3DA4934-A365-4E91-B605-221D80C09B17}" type="pres">
      <dgm:prSet presAssocID="{D5E11CAE-80DE-422C-A41A-18176E591266}" presName="textB" presStyleLbl="revTx" presStyleIdx="1" presStyleCnt="5" custScaleX="139727">
        <dgm:presLayoutVars>
          <dgm:bulletEnabled val="1"/>
        </dgm:presLayoutVars>
      </dgm:prSet>
      <dgm:spPr/>
    </dgm:pt>
    <dgm:pt modelId="{A148982F-284E-40F4-8CBF-4043A5C3E081}" type="pres">
      <dgm:prSet presAssocID="{D5E11CAE-80DE-422C-A41A-18176E591266}" presName="circleB" presStyleLbl="node1" presStyleIdx="1" presStyleCnt="5"/>
      <dgm:spPr/>
    </dgm:pt>
    <dgm:pt modelId="{252EA9BA-4370-41CE-AC75-C6559E5B202A}" type="pres">
      <dgm:prSet presAssocID="{D5E11CAE-80DE-422C-A41A-18176E591266}" presName="spaceB" presStyleCnt="0"/>
      <dgm:spPr/>
    </dgm:pt>
    <dgm:pt modelId="{A4660ACB-5D18-4F89-B887-68A7BAEA2A9B}" type="pres">
      <dgm:prSet presAssocID="{9442DE1E-B6E8-41B6-B860-C2034F5D0CC0}" presName="space" presStyleCnt="0"/>
      <dgm:spPr/>
    </dgm:pt>
    <dgm:pt modelId="{E14C10F3-6521-4280-9428-F9103091129C}" type="pres">
      <dgm:prSet presAssocID="{114544EA-1700-4095-9EC4-49F26F62AC54}" presName="compositeA" presStyleCnt="0"/>
      <dgm:spPr/>
    </dgm:pt>
    <dgm:pt modelId="{9C5981AC-3E72-4BD3-95D3-747604CC1327}" type="pres">
      <dgm:prSet presAssocID="{114544EA-1700-4095-9EC4-49F26F62AC54}" presName="textA" presStyleLbl="revTx" presStyleIdx="2" presStyleCnt="5">
        <dgm:presLayoutVars>
          <dgm:bulletEnabled val="1"/>
        </dgm:presLayoutVars>
      </dgm:prSet>
      <dgm:spPr/>
    </dgm:pt>
    <dgm:pt modelId="{512308DE-24E1-487B-8545-118161E72D8C}" type="pres">
      <dgm:prSet presAssocID="{114544EA-1700-4095-9EC4-49F26F62AC54}" presName="circleA" presStyleLbl="node1" presStyleIdx="2" presStyleCnt="5"/>
      <dgm:spPr/>
    </dgm:pt>
    <dgm:pt modelId="{A5559476-6238-49EA-B65B-68F8406DB1F7}" type="pres">
      <dgm:prSet presAssocID="{114544EA-1700-4095-9EC4-49F26F62AC54}" presName="spaceA" presStyleCnt="0"/>
      <dgm:spPr/>
    </dgm:pt>
    <dgm:pt modelId="{B36A22A2-7A49-4A78-A81E-ED98887A7124}" type="pres">
      <dgm:prSet presAssocID="{C81364C8-90AB-4899-BCE5-22325BC045D9}" presName="space" presStyleCnt="0"/>
      <dgm:spPr/>
    </dgm:pt>
    <dgm:pt modelId="{4A6AB230-F6BD-4F6D-B082-CA8C157940AD}" type="pres">
      <dgm:prSet presAssocID="{FF87360F-0347-48C9-8608-9E9D90903258}" presName="compositeB" presStyleCnt="0"/>
      <dgm:spPr/>
    </dgm:pt>
    <dgm:pt modelId="{587243A5-3DEA-403E-B60A-5F5BBE700903}" type="pres">
      <dgm:prSet presAssocID="{FF87360F-0347-48C9-8608-9E9D90903258}" presName="textB" presStyleLbl="revTx" presStyleIdx="3" presStyleCnt="5">
        <dgm:presLayoutVars>
          <dgm:bulletEnabled val="1"/>
        </dgm:presLayoutVars>
      </dgm:prSet>
      <dgm:spPr/>
    </dgm:pt>
    <dgm:pt modelId="{4CECBCC0-B4BB-4A2B-9967-92D56E324E0A}" type="pres">
      <dgm:prSet presAssocID="{FF87360F-0347-48C9-8608-9E9D90903258}" presName="circleB" presStyleLbl="node1" presStyleIdx="3" presStyleCnt="5"/>
      <dgm:spPr/>
    </dgm:pt>
    <dgm:pt modelId="{0902F902-33EA-4841-A19E-569DCB5A1870}" type="pres">
      <dgm:prSet presAssocID="{FF87360F-0347-48C9-8608-9E9D90903258}" presName="spaceB" presStyleCnt="0"/>
      <dgm:spPr/>
    </dgm:pt>
    <dgm:pt modelId="{7E102B06-16CF-40BE-B338-FB8E42C3CF08}" type="pres">
      <dgm:prSet presAssocID="{9B14D5CF-73FE-4884-9D91-7BCFAA475451}" presName="space" presStyleCnt="0"/>
      <dgm:spPr/>
    </dgm:pt>
    <dgm:pt modelId="{D1957D95-56C9-4791-9CD7-0CCD63B81227}" type="pres">
      <dgm:prSet presAssocID="{49F7E2F9-143A-4FAF-9BC7-33F578E94A23}" presName="compositeA" presStyleCnt="0"/>
      <dgm:spPr/>
    </dgm:pt>
    <dgm:pt modelId="{451A545C-4EE3-40B7-8919-A32D3C584A66}" type="pres">
      <dgm:prSet presAssocID="{49F7E2F9-143A-4FAF-9BC7-33F578E94A23}" presName="textA" presStyleLbl="revTx" presStyleIdx="4" presStyleCnt="5" custScaleX="130896">
        <dgm:presLayoutVars>
          <dgm:bulletEnabled val="1"/>
        </dgm:presLayoutVars>
      </dgm:prSet>
      <dgm:spPr/>
    </dgm:pt>
    <dgm:pt modelId="{8844EA8D-C483-470A-B5FB-31CA6C6B2E38}" type="pres">
      <dgm:prSet presAssocID="{49F7E2F9-143A-4FAF-9BC7-33F578E94A23}" presName="circleA" presStyleLbl="node1" presStyleIdx="4" presStyleCnt="5"/>
      <dgm:spPr/>
    </dgm:pt>
    <dgm:pt modelId="{98AFC9C4-4661-439C-B999-DBD927954558}" type="pres">
      <dgm:prSet presAssocID="{49F7E2F9-143A-4FAF-9BC7-33F578E94A23}" presName="spaceA" presStyleCnt="0"/>
      <dgm:spPr/>
    </dgm:pt>
  </dgm:ptLst>
  <dgm:cxnLst>
    <dgm:cxn modelId="{20554418-6789-40A0-9987-47AF408673C4}" srcId="{E1FA7C7F-8555-461E-8F0C-2B93A83F937E}" destId="{49F7E2F9-143A-4FAF-9BC7-33F578E94A23}" srcOrd="4" destOrd="0" parTransId="{F95DCDBF-F705-49A4-B90A-C63EAF4005BB}" sibTransId="{041A9F54-0398-4316-8249-1B9E1EAEEA9B}"/>
    <dgm:cxn modelId="{FA40D020-EF22-4410-9EC8-3CAC542D925B}" type="presOf" srcId="{E1FA7C7F-8555-461E-8F0C-2B93A83F937E}" destId="{E1DC8F4A-781C-411A-B540-533DDD1F2BD8}" srcOrd="0" destOrd="0" presId="urn:microsoft.com/office/officeart/2005/8/layout/hProcess11"/>
    <dgm:cxn modelId="{01F29736-B958-4406-BB34-EB1CF78C7413}" type="presOf" srcId="{114544EA-1700-4095-9EC4-49F26F62AC54}" destId="{9C5981AC-3E72-4BD3-95D3-747604CC1327}" srcOrd="0" destOrd="0" presId="urn:microsoft.com/office/officeart/2005/8/layout/hProcess11"/>
    <dgm:cxn modelId="{2F36FA70-7634-4549-9410-FB9659A1E663}" type="presOf" srcId="{5E5D00B5-5C92-4899-98AB-986D7BE96CED}" destId="{1F330875-E1F8-4B8F-BFA9-3481B5843558}" srcOrd="0" destOrd="0" presId="urn:microsoft.com/office/officeart/2005/8/layout/hProcess11"/>
    <dgm:cxn modelId="{7A7AB056-BAF5-4FB8-8301-95D603E3A4D5}" srcId="{E1FA7C7F-8555-461E-8F0C-2B93A83F937E}" destId="{D5E11CAE-80DE-422C-A41A-18176E591266}" srcOrd="1" destOrd="0" parTransId="{55E81B62-DABE-4B84-B7DB-1672801D3080}" sibTransId="{9442DE1E-B6E8-41B6-B860-C2034F5D0CC0}"/>
    <dgm:cxn modelId="{F6720578-7AFA-4B15-A013-75E5BA8035C7}" type="presOf" srcId="{FF87360F-0347-48C9-8608-9E9D90903258}" destId="{587243A5-3DEA-403E-B60A-5F5BBE700903}" srcOrd="0" destOrd="0" presId="urn:microsoft.com/office/officeart/2005/8/layout/hProcess11"/>
    <dgm:cxn modelId="{661D389A-C53B-4E91-905A-D22556FEE4D3}" srcId="{E1FA7C7F-8555-461E-8F0C-2B93A83F937E}" destId="{FF87360F-0347-48C9-8608-9E9D90903258}" srcOrd="3" destOrd="0" parTransId="{C0E805E4-9A07-47AD-B474-132C8F8A27F1}" sibTransId="{9B14D5CF-73FE-4884-9D91-7BCFAA475451}"/>
    <dgm:cxn modelId="{436FCDB8-D788-47DA-B94E-8F71AF4F0B3C}" srcId="{E1FA7C7F-8555-461E-8F0C-2B93A83F937E}" destId="{114544EA-1700-4095-9EC4-49F26F62AC54}" srcOrd="2" destOrd="0" parTransId="{84C3D3A2-7BB3-4EDB-A1B6-C9824695FEFA}" sibTransId="{C81364C8-90AB-4899-BCE5-22325BC045D9}"/>
    <dgm:cxn modelId="{CA8308C3-9B59-4D7C-A27A-4E22DCD730F7}" type="presOf" srcId="{49F7E2F9-143A-4FAF-9BC7-33F578E94A23}" destId="{451A545C-4EE3-40B7-8919-A32D3C584A66}" srcOrd="0" destOrd="0" presId="urn:microsoft.com/office/officeart/2005/8/layout/hProcess11"/>
    <dgm:cxn modelId="{9CB8F5E0-99A1-40D0-8B5D-205762A35C54}" srcId="{E1FA7C7F-8555-461E-8F0C-2B93A83F937E}" destId="{5E5D00B5-5C92-4899-98AB-986D7BE96CED}" srcOrd="0" destOrd="0" parTransId="{0A04BCE7-F509-4851-A4D8-FA00B429A566}" sibTransId="{C7DA6D42-5F2F-49F1-9A4C-D6C94EAFD29B}"/>
    <dgm:cxn modelId="{E257C0E2-88D0-479D-AEE6-25E4CE86A4F8}" type="presOf" srcId="{D5E11CAE-80DE-422C-A41A-18176E591266}" destId="{A3DA4934-A365-4E91-B605-221D80C09B17}" srcOrd="0" destOrd="0" presId="urn:microsoft.com/office/officeart/2005/8/layout/hProcess11"/>
    <dgm:cxn modelId="{D51D79E2-E0A5-431B-9666-3F0EA303A7F9}" type="presParOf" srcId="{E1DC8F4A-781C-411A-B540-533DDD1F2BD8}" destId="{CB1B61A4-97FF-4FFF-8757-EE00E2CED583}" srcOrd="0" destOrd="0" presId="urn:microsoft.com/office/officeart/2005/8/layout/hProcess11"/>
    <dgm:cxn modelId="{F45702B7-FEC0-4D98-AB1D-2929B0A6D9E8}" type="presParOf" srcId="{E1DC8F4A-781C-411A-B540-533DDD1F2BD8}" destId="{52972D78-4DE3-4F88-B0CB-4CE36E2E5A90}" srcOrd="1" destOrd="0" presId="urn:microsoft.com/office/officeart/2005/8/layout/hProcess11"/>
    <dgm:cxn modelId="{946215D6-D02C-4717-9CD0-0BC846AA26D7}" type="presParOf" srcId="{52972D78-4DE3-4F88-B0CB-4CE36E2E5A90}" destId="{F7335943-8C94-4158-87E9-13EE90D6E0CB}" srcOrd="0" destOrd="0" presId="urn:microsoft.com/office/officeart/2005/8/layout/hProcess11"/>
    <dgm:cxn modelId="{42B6131D-5B5F-4E16-9847-0AD0FDA7BAAE}" type="presParOf" srcId="{F7335943-8C94-4158-87E9-13EE90D6E0CB}" destId="{1F330875-E1F8-4B8F-BFA9-3481B5843558}" srcOrd="0" destOrd="0" presId="urn:microsoft.com/office/officeart/2005/8/layout/hProcess11"/>
    <dgm:cxn modelId="{A3EB540A-EAD6-412F-BEAC-9B0CBE56C896}" type="presParOf" srcId="{F7335943-8C94-4158-87E9-13EE90D6E0CB}" destId="{39EB0895-E194-4188-8C9F-1500D2EA6B93}" srcOrd="1" destOrd="0" presId="urn:microsoft.com/office/officeart/2005/8/layout/hProcess11"/>
    <dgm:cxn modelId="{DF89E316-B3A1-4E42-88B4-9CDB925D641A}" type="presParOf" srcId="{F7335943-8C94-4158-87E9-13EE90D6E0CB}" destId="{166D4126-2B70-412A-9DE4-E017A8720B5D}" srcOrd="2" destOrd="0" presId="urn:microsoft.com/office/officeart/2005/8/layout/hProcess11"/>
    <dgm:cxn modelId="{85BC9574-7A3D-4DE5-BBAA-D3FA825295F8}" type="presParOf" srcId="{52972D78-4DE3-4F88-B0CB-4CE36E2E5A90}" destId="{B751BB31-3763-4AA1-AAFF-73EB31BD0AB9}" srcOrd="1" destOrd="0" presId="urn:microsoft.com/office/officeart/2005/8/layout/hProcess11"/>
    <dgm:cxn modelId="{E66654B2-772F-4ECF-BFD7-350CF51C9228}" type="presParOf" srcId="{52972D78-4DE3-4F88-B0CB-4CE36E2E5A90}" destId="{637A311F-5E8F-4E8E-8EF8-A2DEFD61109A}" srcOrd="2" destOrd="0" presId="urn:microsoft.com/office/officeart/2005/8/layout/hProcess11"/>
    <dgm:cxn modelId="{1A1D003C-7309-496B-9FA8-BC57483B1793}" type="presParOf" srcId="{637A311F-5E8F-4E8E-8EF8-A2DEFD61109A}" destId="{A3DA4934-A365-4E91-B605-221D80C09B17}" srcOrd="0" destOrd="0" presId="urn:microsoft.com/office/officeart/2005/8/layout/hProcess11"/>
    <dgm:cxn modelId="{EE0B293E-4E9E-4A48-A997-00AD4FFB25B0}" type="presParOf" srcId="{637A311F-5E8F-4E8E-8EF8-A2DEFD61109A}" destId="{A148982F-284E-40F4-8CBF-4043A5C3E081}" srcOrd="1" destOrd="0" presId="urn:microsoft.com/office/officeart/2005/8/layout/hProcess11"/>
    <dgm:cxn modelId="{F14DE70B-0E8F-4618-8987-FE5DC14D0439}" type="presParOf" srcId="{637A311F-5E8F-4E8E-8EF8-A2DEFD61109A}" destId="{252EA9BA-4370-41CE-AC75-C6559E5B202A}" srcOrd="2" destOrd="0" presId="urn:microsoft.com/office/officeart/2005/8/layout/hProcess11"/>
    <dgm:cxn modelId="{4C2A3DC4-A104-4937-AC62-DBD3C549F2A4}" type="presParOf" srcId="{52972D78-4DE3-4F88-B0CB-4CE36E2E5A90}" destId="{A4660ACB-5D18-4F89-B887-68A7BAEA2A9B}" srcOrd="3" destOrd="0" presId="urn:microsoft.com/office/officeart/2005/8/layout/hProcess11"/>
    <dgm:cxn modelId="{567649FA-2DFD-4A04-BBD7-10F539F4E93C}" type="presParOf" srcId="{52972D78-4DE3-4F88-B0CB-4CE36E2E5A90}" destId="{E14C10F3-6521-4280-9428-F9103091129C}" srcOrd="4" destOrd="0" presId="urn:microsoft.com/office/officeart/2005/8/layout/hProcess11"/>
    <dgm:cxn modelId="{C0D72A5D-8E66-42CC-83B8-E2191F501313}" type="presParOf" srcId="{E14C10F3-6521-4280-9428-F9103091129C}" destId="{9C5981AC-3E72-4BD3-95D3-747604CC1327}" srcOrd="0" destOrd="0" presId="urn:microsoft.com/office/officeart/2005/8/layout/hProcess11"/>
    <dgm:cxn modelId="{73F240E5-4BFC-4C7E-8605-AD83257D895E}" type="presParOf" srcId="{E14C10F3-6521-4280-9428-F9103091129C}" destId="{512308DE-24E1-487B-8545-118161E72D8C}" srcOrd="1" destOrd="0" presId="urn:microsoft.com/office/officeart/2005/8/layout/hProcess11"/>
    <dgm:cxn modelId="{EB0B9EB5-2F92-4D05-930A-BBC5E9940B25}" type="presParOf" srcId="{E14C10F3-6521-4280-9428-F9103091129C}" destId="{A5559476-6238-49EA-B65B-68F8406DB1F7}" srcOrd="2" destOrd="0" presId="urn:microsoft.com/office/officeart/2005/8/layout/hProcess11"/>
    <dgm:cxn modelId="{8EB3D742-1EBE-45C2-8CD8-75A3607CE3DD}" type="presParOf" srcId="{52972D78-4DE3-4F88-B0CB-4CE36E2E5A90}" destId="{B36A22A2-7A49-4A78-A81E-ED98887A7124}" srcOrd="5" destOrd="0" presId="urn:microsoft.com/office/officeart/2005/8/layout/hProcess11"/>
    <dgm:cxn modelId="{5CF8ACEA-E4B1-4C98-B0A2-BEBD7912E6A9}" type="presParOf" srcId="{52972D78-4DE3-4F88-B0CB-4CE36E2E5A90}" destId="{4A6AB230-F6BD-4F6D-B082-CA8C157940AD}" srcOrd="6" destOrd="0" presId="urn:microsoft.com/office/officeart/2005/8/layout/hProcess11"/>
    <dgm:cxn modelId="{C3943C3C-4946-4E37-B0AF-B9DF1AD78CCB}" type="presParOf" srcId="{4A6AB230-F6BD-4F6D-B082-CA8C157940AD}" destId="{587243A5-3DEA-403E-B60A-5F5BBE700903}" srcOrd="0" destOrd="0" presId="urn:microsoft.com/office/officeart/2005/8/layout/hProcess11"/>
    <dgm:cxn modelId="{B193AC32-1CEA-4B62-ACBE-55EA296D7F1E}" type="presParOf" srcId="{4A6AB230-F6BD-4F6D-B082-CA8C157940AD}" destId="{4CECBCC0-B4BB-4A2B-9967-92D56E324E0A}" srcOrd="1" destOrd="0" presId="urn:microsoft.com/office/officeart/2005/8/layout/hProcess11"/>
    <dgm:cxn modelId="{5D5F1C07-CAE3-4B7B-9BCE-655B4989804E}" type="presParOf" srcId="{4A6AB230-F6BD-4F6D-B082-CA8C157940AD}" destId="{0902F902-33EA-4841-A19E-569DCB5A1870}" srcOrd="2" destOrd="0" presId="urn:microsoft.com/office/officeart/2005/8/layout/hProcess11"/>
    <dgm:cxn modelId="{2C4D9C71-3EA7-4908-B961-D5127DF718EF}" type="presParOf" srcId="{52972D78-4DE3-4F88-B0CB-4CE36E2E5A90}" destId="{7E102B06-16CF-40BE-B338-FB8E42C3CF08}" srcOrd="7" destOrd="0" presId="urn:microsoft.com/office/officeart/2005/8/layout/hProcess11"/>
    <dgm:cxn modelId="{C4F49F2C-A41D-4FF3-8376-02F9120E8C71}" type="presParOf" srcId="{52972D78-4DE3-4F88-B0CB-4CE36E2E5A90}" destId="{D1957D95-56C9-4791-9CD7-0CCD63B81227}" srcOrd="8" destOrd="0" presId="urn:microsoft.com/office/officeart/2005/8/layout/hProcess11"/>
    <dgm:cxn modelId="{F18D3932-50B9-4399-A6C0-4142F34DAF21}" type="presParOf" srcId="{D1957D95-56C9-4791-9CD7-0CCD63B81227}" destId="{451A545C-4EE3-40B7-8919-A32D3C584A66}" srcOrd="0" destOrd="0" presId="urn:microsoft.com/office/officeart/2005/8/layout/hProcess11"/>
    <dgm:cxn modelId="{1422DF32-EDB6-4BA6-97A5-9B539EA811B9}" type="presParOf" srcId="{D1957D95-56C9-4791-9CD7-0CCD63B81227}" destId="{8844EA8D-C483-470A-B5FB-31CA6C6B2E38}" srcOrd="1" destOrd="0" presId="urn:microsoft.com/office/officeart/2005/8/layout/hProcess11"/>
    <dgm:cxn modelId="{9E68D67B-8FD9-4683-9496-043502C41814}" type="presParOf" srcId="{D1957D95-56C9-4791-9CD7-0CCD63B81227}" destId="{98AFC9C4-4661-439C-B999-DBD927954558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3055BA-DA18-4F16-982B-1D08991DCBF8}">
      <dsp:nvSpPr>
        <dsp:cNvPr id="0" name=""/>
        <dsp:cNvSpPr/>
      </dsp:nvSpPr>
      <dsp:spPr>
        <a:xfrm>
          <a:off x="0" y="600"/>
          <a:ext cx="5934533" cy="0"/>
        </a:xfrm>
        <a:prstGeom prst="lin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0DAD0C9-F74D-4811-95DD-D9C1693C8D7E}">
      <dsp:nvSpPr>
        <dsp:cNvPr id="0" name=""/>
        <dsp:cNvSpPr/>
      </dsp:nvSpPr>
      <dsp:spPr>
        <a:xfrm>
          <a:off x="0" y="600"/>
          <a:ext cx="5934533" cy="7028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Hvordan skjer lønnsutvikling i staten?</a:t>
          </a:r>
          <a:endParaRPr lang="en-US" sz="2000" kern="1200" dirty="0"/>
        </a:p>
      </dsp:txBody>
      <dsp:txXfrm>
        <a:off x="0" y="600"/>
        <a:ext cx="5934533" cy="702864"/>
      </dsp:txXfrm>
    </dsp:sp>
    <dsp:sp modelId="{BF319805-E653-4DE6-9544-8EF1B88BE1FF}">
      <dsp:nvSpPr>
        <dsp:cNvPr id="0" name=""/>
        <dsp:cNvSpPr/>
      </dsp:nvSpPr>
      <dsp:spPr>
        <a:xfrm>
          <a:off x="0" y="703464"/>
          <a:ext cx="5934533" cy="0"/>
        </a:xfrm>
        <a:prstGeom prst="line">
          <a:avLst/>
        </a:prstGeom>
        <a:gradFill rotWithShape="0">
          <a:gsLst>
            <a:gs pos="0">
              <a:schemeClr val="accent2">
                <a:hueOff val="1647528"/>
                <a:satOff val="-2067"/>
                <a:lumOff val="-134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1647528"/>
                <a:satOff val="-2067"/>
                <a:lumOff val="-134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1647528"/>
                <a:satOff val="-2067"/>
                <a:lumOff val="-134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1647528"/>
              <a:satOff val="-2067"/>
              <a:lumOff val="-134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0B7C00E-6CD1-4FAC-8E03-78753DF68E32}">
      <dsp:nvSpPr>
        <dsp:cNvPr id="0" name=""/>
        <dsp:cNvSpPr/>
      </dsp:nvSpPr>
      <dsp:spPr>
        <a:xfrm>
          <a:off x="0" y="703464"/>
          <a:ext cx="5934533" cy="7028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Hvordan settes den økonomiske rammen i det årlige lønnsoppgjøret?​</a:t>
          </a:r>
          <a:endParaRPr lang="en-US" sz="2000" kern="1200" dirty="0"/>
        </a:p>
      </dsp:txBody>
      <dsp:txXfrm>
        <a:off x="0" y="703464"/>
        <a:ext cx="5934533" cy="702864"/>
      </dsp:txXfrm>
    </dsp:sp>
    <dsp:sp modelId="{128F2BA9-FF0E-4DB1-A249-3C66038F4017}">
      <dsp:nvSpPr>
        <dsp:cNvPr id="0" name=""/>
        <dsp:cNvSpPr/>
      </dsp:nvSpPr>
      <dsp:spPr>
        <a:xfrm>
          <a:off x="0" y="1406328"/>
          <a:ext cx="5934533" cy="0"/>
        </a:xfrm>
        <a:prstGeom prst="line">
          <a:avLst/>
        </a:prstGeom>
        <a:gradFill rotWithShape="0">
          <a:gsLst>
            <a:gs pos="0">
              <a:schemeClr val="accent2">
                <a:hueOff val="3295055"/>
                <a:satOff val="-4134"/>
                <a:lumOff val="-268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3295055"/>
                <a:satOff val="-4134"/>
                <a:lumOff val="-268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3295055"/>
                <a:satOff val="-4134"/>
                <a:lumOff val="-268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3295055"/>
              <a:satOff val="-4134"/>
              <a:lumOff val="-268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23CFF5-8333-4BD2-91EB-FE710171D300}">
      <dsp:nvSpPr>
        <dsp:cNvPr id="0" name=""/>
        <dsp:cNvSpPr/>
      </dsp:nvSpPr>
      <dsp:spPr>
        <a:xfrm>
          <a:off x="0" y="1406328"/>
          <a:ext cx="5934533" cy="7028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Hva er leders ansvar i årlige lokale lønnsforhandlinger?</a:t>
          </a:r>
          <a:endParaRPr lang="en-US" sz="2000" kern="1200" dirty="0"/>
        </a:p>
      </dsp:txBody>
      <dsp:txXfrm>
        <a:off x="0" y="1406328"/>
        <a:ext cx="5934533" cy="702864"/>
      </dsp:txXfrm>
    </dsp:sp>
    <dsp:sp modelId="{FB8D60CF-9771-4F5F-8B73-CDFF0DE4D71C}">
      <dsp:nvSpPr>
        <dsp:cNvPr id="0" name=""/>
        <dsp:cNvSpPr/>
      </dsp:nvSpPr>
      <dsp:spPr>
        <a:xfrm>
          <a:off x="0" y="2109192"/>
          <a:ext cx="5934533" cy="0"/>
        </a:xfrm>
        <a:prstGeom prst="line">
          <a:avLst/>
        </a:prstGeom>
        <a:gradFill rotWithShape="0">
          <a:gsLst>
            <a:gs pos="0">
              <a:schemeClr val="accent2">
                <a:hueOff val="4942582"/>
                <a:satOff val="-6201"/>
                <a:lumOff val="-401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4942582"/>
                <a:satOff val="-6201"/>
                <a:lumOff val="-401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4942582"/>
                <a:satOff val="-6201"/>
                <a:lumOff val="-401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4942582"/>
              <a:satOff val="-6201"/>
              <a:lumOff val="-4019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31D5300-B346-4EC7-9026-F3113B3385E1}">
      <dsp:nvSpPr>
        <dsp:cNvPr id="0" name=""/>
        <dsp:cNvSpPr/>
      </dsp:nvSpPr>
      <dsp:spPr>
        <a:xfrm>
          <a:off x="0" y="2109192"/>
          <a:ext cx="5934533" cy="7028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Hvordan forberede en lønnssamtale?</a:t>
          </a:r>
          <a:r>
            <a:rPr lang="nb-NO" sz="2000" kern="1200" dirty="0">
              <a:latin typeface="Tw Cen MT Condensed" panose="020B0606020104020203"/>
            </a:rPr>
            <a:t> </a:t>
          </a:r>
          <a:endParaRPr lang="en-US" sz="2000" kern="1200" dirty="0"/>
        </a:p>
      </dsp:txBody>
      <dsp:txXfrm>
        <a:off x="0" y="2109192"/>
        <a:ext cx="5934533" cy="702864"/>
      </dsp:txXfrm>
    </dsp:sp>
    <dsp:sp modelId="{F96F6AC9-9580-4EBE-8411-77668734F8AF}">
      <dsp:nvSpPr>
        <dsp:cNvPr id="0" name=""/>
        <dsp:cNvSpPr/>
      </dsp:nvSpPr>
      <dsp:spPr>
        <a:xfrm>
          <a:off x="0" y="2812057"/>
          <a:ext cx="5934533" cy="0"/>
        </a:xfrm>
        <a:prstGeom prst="line">
          <a:avLst/>
        </a:prstGeom>
        <a:gradFill rotWithShape="0">
          <a:gsLst>
            <a:gs pos="0">
              <a:schemeClr val="accent2">
                <a:hueOff val="6590110"/>
                <a:satOff val="-8269"/>
                <a:lumOff val="-535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6590110"/>
                <a:satOff val="-8269"/>
                <a:lumOff val="-535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6590110"/>
                <a:satOff val="-8269"/>
                <a:lumOff val="-535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6590110"/>
              <a:satOff val="-8269"/>
              <a:lumOff val="-5359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1DC55F4-B3FF-4732-8834-BB4F9C1D8D36}">
      <dsp:nvSpPr>
        <dsp:cNvPr id="0" name=""/>
        <dsp:cNvSpPr/>
      </dsp:nvSpPr>
      <dsp:spPr>
        <a:xfrm>
          <a:off x="0" y="2812057"/>
          <a:ext cx="5934533" cy="7028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Hvordan gjennomføre en lønnssamtale?</a:t>
          </a:r>
          <a:endParaRPr lang="en-US" sz="2000" kern="1200" dirty="0"/>
        </a:p>
      </dsp:txBody>
      <dsp:txXfrm>
        <a:off x="0" y="2812057"/>
        <a:ext cx="5934533" cy="702864"/>
      </dsp:txXfrm>
    </dsp:sp>
    <dsp:sp modelId="{0C233D35-E95A-48F1-A97E-3A3F849C910D}">
      <dsp:nvSpPr>
        <dsp:cNvPr id="0" name=""/>
        <dsp:cNvSpPr/>
      </dsp:nvSpPr>
      <dsp:spPr>
        <a:xfrm>
          <a:off x="0" y="3514921"/>
          <a:ext cx="5934533" cy="0"/>
        </a:xfrm>
        <a:prstGeom prst="line">
          <a:avLst/>
        </a:prstGeom>
        <a:gradFill rotWithShape="0">
          <a:gsLst>
            <a:gs pos="0">
              <a:schemeClr val="accent2">
                <a:hueOff val="8237637"/>
                <a:satOff val="-10336"/>
                <a:lumOff val="-669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8237637"/>
                <a:satOff val="-10336"/>
                <a:lumOff val="-669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8237637"/>
                <a:satOff val="-10336"/>
                <a:lumOff val="-669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8237637"/>
              <a:satOff val="-10336"/>
              <a:lumOff val="-6699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7853978-7E06-4BFE-BBCE-DCEF7E9B211A}">
      <dsp:nvSpPr>
        <dsp:cNvPr id="0" name=""/>
        <dsp:cNvSpPr/>
      </dsp:nvSpPr>
      <dsp:spPr>
        <a:xfrm>
          <a:off x="0" y="3514921"/>
          <a:ext cx="5934533" cy="7028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Hva består den totale lønnspakken av?</a:t>
          </a:r>
          <a:endParaRPr lang="en-US" sz="2000" kern="1200" dirty="0"/>
        </a:p>
      </dsp:txBody>
      <dsp:txXfrm>
        <a:off x="0" y="3514921"/>
        <a:ext cx="5934533" cy="702864"/>
      </dsp:txXfrm>
    </dsp:sp>
    <dsp:sp modelId="{C366CE20-2D18-4DEA-88E2-A9281436262C}">
      <dsp:nvSpPr>
        <dsp:cNvPr id="0" name=""/>
        <dsp:cNvSpPr/>
      </dsp:nvSpPr>
      <dsp:spPr>
        <a:xfrm>
          <a:off x="0" y="4217785"/>
          <a:ext cx="5934533" cy="0"/>
        </a:xfrm>
        <a:prstGeom prst="line">
          <a:avLst/>
        </a:prstGeom>
        <a:gradFill rotWithShape="0">
          <a:gsLst>
            <a:gs pos="0">
              <a:schemeClr val="accent2">
                <a:hueOff val="9885165"/>
                <a:satOff val="-12403"/>
                <a:lumOff val="-803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9885165"/>
                <a:satOff val="-12403"/>
                <a:lumOff val="-803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9885165"/>
                <a:satOff val="-12403"/>
                <a:lumOff val="-803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9885165"/>
              <a:satOff val="-12403"/>
              <a:lumOff val="-8039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9AAD428-9607-4402-A07E-2F59F7FE0689}">
      <dsp:nvSpPr>
        <dsp:cNvPr id="0" name=""/>
        <dsp:cNvSpPr/>
      </dsp:nvSpPr>
      <dsp:spPr>
        <a:xfrm>
          <a:off x="0" y="4217785"/>
          <a:ext cx="5934533" cy="7028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Nyttige lenker</a:t>
          </a:r>
          <a:endParaRPr lang="en-US" sz="2000" kern="1200" dirty="0"/>
        </a:p>
      </dsp:txBody>
      <dsp:txXfrm>
        <a:off x="0" y="4217785"/>
        <a:ext cx="5934533" cy="7028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1B61A4-97FF-4FFF-8757-EE00E2CED583}">
      <dsp:nvSpPr>
        <dsp:cNvPr id="0" name=""/>
        <dsp:cNvSpPr/>
      </dsp:nvSpPr>
      <dsp:spPr>
        <a:xfrm>
          <a:off x="0" y="1607456"/>
          <a:ext cx="10472549" cy="2143274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330875-E1F8-4B8F-BFA9-3481B5843558}">
      <dsp:nvSpPr>
        <dsp:cNvPr id="0" name=""/>
        <dsp:cNvSpPr/>
      </dsp:nvSpPr>
      <dsp:spPr>
        <a:xfrm>
          <a:off x="3431" y="0"/>
          <a:ext cx="1594660" cy="214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Lønn ved ansettelse</a:t>
          </a:r>
        </a:p>
      </dsp:txBody>
      <dsp:txXfrm>
        <a:off x="3431" y="0"/>
        <a:ext cx="1594660" cy="2143274"/>
      </dsp:txXfrm>
    </dsp:sp>
    <dsp:sp modelId="{39EB0895-E194-4188-8C9F-1500D2EA6B93}">
      <dsp:nvSpPr>
        <dsp:cNvPr id="0" name=""/>
        <dsp:cNvSpPr/>
      </dsp:nvSpPr>
      <dsp:spPr>
        <a:xfrm>
          <a:off x="532852" y="2411184"/>
          <a:ext cx="535818" cy="53581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DA4934-A365-4E91-B605-221D80C09B17}">
      <dsp:nvSpPr>
        <dsp:cNvPr id="0" name=""/>
        <dsp:cNvSpPr/>
      </dsp:nvSpPr>
      <dsp:spPr>
        <a:xfrm>
          <a:off x="1677825" y="3214912"/>
          <a:ext cx="2228171" cy="214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Eventuell lønnsjustering innen de første 12.mnd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av ansettelsen (2.5.5)</a:t>
          </a:r>
          <a:endParaRPr lang="nb-NO" sz="1400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400" kern="1200" dirty="0"/>
        </a:p>
      </dsp:txBody>
      <dsp:txXfrm>
        <a:off x="1677825" y="3214912"/>
        <a:ext cx="2228171" cy="2143274"/>
      </dsp:txXfrm>
    </dsp:sp>
    <dsp:sp modelId="{A148982F-284E-40F4-8CBF-4043A5C3E081}">
      <dsp:nvSpPr>
        <dsp:cNvPr id="0" name=""/>
        <dsp:cNvSpPr/>
      </dsp:nvSpPr>
      <dsp:spPr>
        <a:xfrm>
          <a:off x="2524001" y="2411184"/>
          <a:ext cx="535818" cy="53581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5981AC-3E72-4BD3-95D3-747604CC1327}">
      <dsp:nvSpPr>
        <dsp:cNvPr id="0" name=""/>
        <dsp:cNvSpPr/>
      </dsp:nvSpPr>
      <dsp:spPr>
        <a:xfrm>
          <a:off x="3985729" y="0"/>
          <a:ext cx="1594660" cy="214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Årlige sentrale forhandlinger i staten</a:t>
          </a:r>
        </a:p>
      </dsp:txBody>
      <dsp:txXfrm>
        <a:off x="3985729" y="0"/>
        <a:ext cx="1594660" cy="2143274"/>
      </dsp:txXfrm>
    </dsp:sp>
    <dsp:sp modelId="{512308DE-24E1-487B-8545-118161E72D8C}">
      <dsp:nvSpPr>
        <dsp:cNvPr id="0" name=""/>
        <dsp:cNvSpPr/>
      </dsp:nvSpPr>
      <dsp:spPr>
        <a:xfrm>
          <a:off x="4515150" y="2411184"/>
          <a:ext cx="535818" cy="53581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87243A5-3DEA-403E-B60A-5F5BBE700903}">
      <dsp:nvSpPr>
        <dsp:cNvPr id="0" name=""/>
        <dsp:cNvSpPr/>
      </dsp:nvSpPr>
      <dsp:spPr>
        <a:xfrm>
          <a:off x="5660123" y="3214912"/>
          <a:ext cx="1594660" cy="214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Lokale forhandlinger i virksomheten (2.5.1)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400" b="1" kern="1200" dirty="0"/>
        </a:p>
      </dsp:txBody>
      <dsp:txXfrm>
        <a:off x="5660123" y="3214912"/>
        <a:ext cx="1594660" cy="2143274"/>
      </dsp:txXfrm>
    </dsp:sp>
    <dsp:sp modelId="{4CECBCC0-B4BB-4A2B-9967-92D56E324E0A}">
      <dsp:nvSpPr>
        <dsp:cNvPr id="0" name=""/>
        <dsp:cNvSpPr/>
      </dsp:nvSpPr>
      <dsp:spPr>
        <a:xfrm>
          <a:off x="6189543" y="2411184"/>
          <a:ext cx="535818" cy="53581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1A545C-4EE3-40B7-8919-A32D3C584A66}">
      <dsp:nvSpPr>
        <dsp:cNvPr id="0" name=""/>
        <dsp:cNvSpPr/>
      </dsp:nvSpPr>
      <dsp:spPr>
        <a:xfrm>
          <a:off x="7334516" y="0"/>
          <a:ext cx="2087346" cy="2143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Forhandlinger på særlig grunnlag (2.5.3)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 dirty="0"/>
            <a:t>- Vesentlige endringer i stillingen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 dirty="0"/>
            <a:t>- Rekruttere eller beholde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 dirty="0"/>
            <a:t>- Ekstraordinær innsats</a:t>
          </a:r>
        </a:p>
      </dsp:txBody>
      <dsp:txXfrm>
        <a:off x="7334516" y="0"/>
        <a:ext cx="2087346" cy="2143274"/>
      </dsp:txXfrm>
    </dsp:sp>
    <dsp:sp modelId="{8844EA8D-C483-470A-B5FB-31CA6C6B2E38}">
      <dsp:nvSpPr>
        <dsp:cNvPr id="0" name=""/>
        <dsp:cNvSpPr/>
      </dsp:nvSpPr>
      <dsp:spPr>
        <a:xfrm>
          <a:off x="8110280" y="2411184"/>
          <a:ext cx="535818" cy="53581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6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Marianne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943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4.jp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dirty="0"/>
              <a:t>Legg inn en kort tittel – helst kun en linj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7" cy="42322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 dirty="0"/>
              <a:t>Klikk for å legge til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D0F5BF39-16BA-C14F-A7C3-3AACD48A4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9.06.2023</a:t>
            </a:fld>
            <a:endParaRPr lang="nb-NO" dirty="0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CFC9BE17-CD97-254A-87EF-4AFCD966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57D44CF1-7BE2-D64B-B435-1D19949FB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22351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47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a/samtale-dialog-interview-ikon-1262311/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uio.no/om/regelverk/personal/overordnet/lonnspolitikk.html" TargetMode="Externa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lassholder for bilde 10"/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3" b="13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2336122"/>
          </a:xfrm>
        </p:spPr>
        <p:txBody>
          <a:bodyPr/>
          <a:lstStyle/>
          <a:p>
            <a:r>
              <a:rPr lang="nb-NO" sz="3200" dirty="0"/>
              <a:t>Forberedelse til lønnssamtale – lønnsforhandlinger i staten</a:t>
            </a:r>
            <a:br>
              <a:rPr lang="nb-NO" sz="3200" dirty="0"/>
            </a:br>
            <a:br>
              <a:rPr lang="nb-NO" sz="3200" dirty="0"/>
            </a:br>
            <a:r>
              <a:rPr lang="nb-NO" sz="2000" dirty="0"/>
              <a:t>Mal for gjennomgang i ledergrupper - tilpasses lokalt</a:t>
            </a:r>
            <a:endParaRPr lang="nb-NO" sz="32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386112" y="4995528"/>
            <a:ext cx="5716962" cy="460777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>
          <a:xfrm>
            <a:off x="383800" y="5551957"/>
            <a:ext cx="5716962" cy="365125"/>
          </a:xfrm>
        </p:spPr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99788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C2B2A0-ACE2-8928-2EBD-5C8D95A7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gjennomføre lønnssamt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29227D92-E58F-AF40-B052-BF89B39DFB56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088136"/>
            <a:ext cx="11471910" cy="5155045"/>
          </a:xfrm>
        </p:spPr>
        <p:txBody>
          <a:bodyPr/>
          <a:lstStyle/>
          <a:p>
            <a:r>
              <a:rPr lang="nb-NO" sz="2000" dirty="0"/>
              <a:t>Gjennomføring av lønnssamtalen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Hold deg til agendaen du har sendt ut på forhån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Lytt til den ansattes krav og innspil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Gi din vurdering av grunnlaget for å fremme lønnskrav, i lys av lønnspolitikke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Vær ærlig og tydelig i tilbakemeldinger og begrunnels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Forklar at det er begrenset med midler, og at du må prioriter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Forklar at forhandlinger gjør at resultatet kan bli endret i forhold til dine </a:t>
            </a:r>
          </a:p>
          <a:p>
            <a:pPr marL="457223" lvl="1" indent="0">
              <a:buNone/>
            </a:pPr>
            <a:r>
              <a:rPr lang="nb-NO" sz="1600" dirty="0"/>
              <a:t>    prioriteringer</a:t>
            </a:r>
          </a:p>
          <a:p>
            <a:r>
              <a:rPr lang="nb-NO" sz="2000" dirty="0"/>
              <a:t>Oppfølging etter forhandlinger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Det kan være behov for en oppfølgingssamtale med ansatte der forventingene ikke ble innfrid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Du kan si at du fortsatt vil jobbe for at vedkomne skal ha en lønnsutvikling, men vær realistisk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Vær motiverende og løft frem andre faktorer, som muligheter for nye oppgaver eller kompetansehev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Forklar at det er en begrenset pott i lokale forhandlinger, og at det alltid er mange gode krav som ikke når opp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Du har taushetsplikt om hva som har skjedd under forhandlingene, men du kan være åpen om vurderingene du selv har gjor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Ikke skyld på organisasjonene for at kravet ikke nådde opp – resultatet er omforent mellom partene</a:t>
            </a:r>
          </a:p>
          <a:p>
            <a:pPr lvl="1">
              <a:buFont typeface="Arial" panose="020B0604020202020204" pitchFamily="34" charset="0"/>
              <a:buChar char="•"/>
            </a:pPr>
            <a:endParaRPr lang="nb-NO" sz="1600" dirty="0"/>
          </a:p>
          <a:p>
            <a:endParaRPr lang="nb-NO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A6AE307-4A9D-2FD5-4D56-005CF9D1F89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FDFFA2D-ACEB-70D1-AFDC-5ABBF40116E2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6CFA27B3-4A67-DAFF-4496-5501862905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00532" y="229347"/>
            <a:ext cx="3691467" cy="3833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4187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«Totalpakka»</a:t>
            </a:r>
          </a:p>
        </p:txBody>
      </p:sp>
      <p:sp>
        <p:nvSpPr>
          <p:cNvPr id="7" name="Undertittel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b="1" dirty="0"/>
              <a:t>Du kan motivere med mer enn lønn!</a:t>
            </a:r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dirty="0"/>
              <a:t>Kompetanseutvikling, kurs, etterutdanning</a:t>
            </a:r>
          </a:p>
          <a:p>
            <a:r>
              <a:rPr lang="nb-NO" dirty="0"/>
              <a:t>Faglige utfordringer</a:t>
            </a:r>
          </a:p>
          <a:p>
            <a:r>
              <a:rPr lang="nb-NO" dirty="0"/>
              <a:t>Variasjon i arbeidsoppgaver</a:t>
            </a:r>
          </a:p>
          <a:p>
            <a:r>
              <a:rPr lang="nb-NO" dirty="0"/>
              <a:t>Velferdsgoder </a:t>
            </a:r>
          </a:p>
          <a:p>
            <a:r>
              <a:rPr lang="nb-NO" dirty="0"/>
              <a:t>Innflytelse på arbeidshverdagen</a:t>
            </a:r>
          </a:p>
          <a:p>
            <a:r>
              <a:rPr lang="nb-NO" dirty="0"/>
              <a:t>Deltagelse i nettverk</a:t>
            </a:r>
          </a:p>
          <a:p>
            <a:r>
              <a:rPr lang="nb-NO" dirty="0"/>
              <a:t>For vitenskapelige stillinger: egne karriereløp og </a:t>
            </a:r>
            <a:r>
              <a:rPr lang="nb-NO" dirty="0" err="1"/>
              <a:t>opprykksmuligheter</a:t>
            </a:r>
            <a:endParaRPr lang="nb-NO" dirty="0"/>
          </a:p>
          <a:p>
            <a:endParaRPr lang="nb-NO" dirty="0"/>
          </a:p>
        </p:txBody>
      </p:sp>
      <p:sp>
        <p:nvSpPr>
          <p:cNvPr id="11" name="Rektangel: avrundede hjørner 5"/>
          <p:cNvSpPr/>
          <p:nvPr/>
        </p:nvSpPr>
        <p:spPr>
          <a:xfrm>
            <a:off x="6936828" y="399393"/>
            <a:ext cx="4876801" cy="5980386"/>
          </a:xfrm>
          <a:prstGeom prst="roundRect">
            <a:avLst/>
          </a:prstGeom>
          <a:solidFill>
            <a:srgbClr val="CEFFDF"/>
          </a:solidFill>
          <a:ln>
            <a:solidFill>
              <a:srgbClr val="0A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46961" eaLnBrk="1" fontAlgn="auto" hangingPunct="1">
              <a:spcBef>
                <a:spcPts val="0"/>
              </a:spcBef>
              <a:spcAft>
                <a:spcPts val="0"/>
              </a:spcAft>
            </a:pPr>
            <a:endParaRPr lang="nb-NO" sz="2400" dirty="0">
              <a:solidFill>
                <a:schemeClr val="tx1"/>
              </a:solidFill>
              <a:latin typeface="Arial" panose="020B0604020202020204"/>
            </a:endParaRPr>
          </a:p>
          <a:p>
            <a:pPr defTabSz="646961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nb-NO" sz="2400" dirty="0">
                <a:solidFill>
                  <a:schemeClr val="tx1"/>
                </a:solidFill>
                <a:latin typeface="Arial" panose="020B0604020202020204"/>
              </a:rPr>
              <a:t>Ved UiO har vi gode felles-ordninger som:</a:t>
            </a:r>
          </a:p>
          <a:p>
            <a:pPr defTabSz="646961" eaLnBrk="1" fontAlgn="auto" hangingPunct="1">
              <a:spcBef>
                <a:spcPts val="0"/>
              </a:spcBef>
              <a:spcAft>
                <a:spcPts val="0"/>
              </a:spcAft>
            </a:pPr>
            <a:endParaRPr lang="nb-NO" sz="2400" dirty="0">
              <a:solidFill>
                <a:schemeClr val="tx1"/>
              </a:solidFill>
              <a:latin typeface="Arial" panose="020B0604020202020204"/>
            </a:endParaRPr>
          </a:p>
          <a:p>
            <a:pPr marL="192916" indent="-192916" defTabSz="646961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tx1"/>
                </a:solidFill>
                <a:latin typeface="Arial" panose="020B0604020202020204"/>
              </a:rPr>
              <a:t>Fleksibel arbeidstid</a:t>
            </a:r>
          </a:p>
          <a:p>
            <a:pPr marL="192916" indent="-192916" defTabSz="646961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tx1"/>
                </a:solidFill>
                <a:latin typeface="Arial" panose="020B0604020202020204"/>
              </a:rPr>
              <a:t>Trening i arbeidstiden og rabatt på </a:t>
            </a:r>
            <a:r>
              <a:rPr lang="nb-NO" sz="2400" dirty="0" err="1">
                <a:solidFill>
                  <a:schemeClr val="tx1"/>
                </a:solidFill>
                <a:latin typeface="Arial" panose="020B0604020202020204"/>
              </a:rPr>
              <a:t>SiO</a:t>
            </a:r>
            <a:r>
              <a:rPr lang="nb-NO" sz="2400" dirty="0">
                <a:solidFill>
                  <a:schemeClr val="tx1"/>
                </a:solidFill>
                <a:latin typeface="Arial" panose="020B0604020202020204"/>
              </a:rPr>
              <a:t> Athletica</a:t>
            </a:r>
          </a:p>
          <a:p>
            <a:pPr marL="192916" indent="-192916" defTabSz="646961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tx1"/>
                </a:solidFill>
                <a:latin typeface="Arial" panose="020B0604020202020204"/>
              </a:rPr>
              <a:t>Bedriftsidrettslag</a:t>
            </a:r>
          </a:p>
          <a:p>
            <a:pPr marL="192916" indent="-192916" defTabSz="646961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tx1"/>
                </a:solidFill>
                <a:latin typeface="Arial" panose="020B0604020202020204"/>
              </a:rPr>
              <a:t>Pensjon, gruppelivsforsikring og boliglån i SPK</a:t>
            </a:r>
          </a:p>
          <a:p>
            <a:pPr marL="192916" indent="-192916" defTabSz="646961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tx1"/>
                </a:solidFill>
                <a:latin typeface="Arial" panose="020B0604020202020204"/>
              </a:rPr>
              <a:t>Barnehage</a:t>
            </a:r>
          </a:p>
          <a:p>
            <a:pPr marL="192916" indent="-192916" defTabSz="646961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tx1"/>
                </a:solidFill>
                <a:latin typeface="Arial" panose="020B0604020202020204"/>
              </a:rPr>
              <a:t>Hytteutleie</a:t>
            </a:r>
          </a:p>
          <a:p>
            <a:pPr marL="192916" indent="-192916" defTabSz="646961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tx1"/>
                </a:solidFill>
                <a:latin typeface="Arial" panose="020B0604020202020204"/>
              </a:rPr>
              <a:t>Kultur- og velferdsutvalg</a:t>
            </a:r>
          </a:p>
          <a:p>
            <a:pPr marL="192916" indent="-192916" defTabSz="646961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tx1"/>
                </a:solidFill>
                <a:latin typeface="Arial" panose="020B0604020202020204"/>
              </a:rPr>
              <a:t>Kunstklubb</a:t>
            </a:r>
          </a:p>
          <a:p>
            <a:pPr marL="192916" indent="-192916" defTabSz="646961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tx1"/>
                </a:solidFill>
                <a:latin typeface="Arial" panose="020B0604020202020204"/>
              </a:rPr>
              <a:t>Seniorforening</a:t>
            </a:r>
          </a:p>
          <a:p>
            <a:pPr marL="192916" indent="-192916" defTabSz="646961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tx1"/>
              </a:solidFill>
              <a:latin typeface="Arial" panose="020B0604020202020204"/>
            </a:endParaRPr>
          </a:p>
          <a:p>
            <a:pPr defTabSz="646961" eaLnBrk="1" fontAlgn="auto" hangingPunct="1">
              <a:spcBef>
                <a:spcPts val="0"/>
              </a:spcBef>
              <a:spcAft>
                <a:spcPts val="0"/>
              </a:spcAft>
            </a:pPr>
            <a:endParaRPr lang="nb-NO" altLang="nb-NO" sz="1013" dirty="0">
              <a:solidFill>
                <a:schemeClr val="tx1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0731804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8113051A-205C-7E15-E817-BA2D362C9658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076624"/>
            <a:ext cx="5489213" cy="4981978"/>
          </a:xfrm>
        </p:spPr>
        <p:txBody>
          <a:bodyPr anchor="t"/>
          <a:lstStyle/>
          <a:p>
            <a:endParaRPr lang="nb-NO" dirty="0"/>
          </a:p>
          <a:p>
            <a:r>
              <a:rPr lang="nb-NO" dirty="0"/>
              <a:t>Hvilke gode erfaringer har vi med lønnssamtaler?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dirty="0"/>
              <a:t>Hva gjorde at det ble en god samtale?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dirty="0"/>
              <a:t>Fikk det positive effekter ut over selve samtalen?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dirty="0"/>
              <a:t>Hva kan du gjøre for å for å få det til like bra denne gangen?</a:t>
            </a:r>
          </a:p>
          <a:p>
            <a:pPr lvl="1"/>
            <a:endParaRPr lang="nb-NO" dirty="0"/>
          </a:p>
        </p:txBody>
      </p:sp>
      <p:sp>
        <p:nvSpPr>
          <p:cNvPr id="10" name="Plassholder for innhold 9">
            <a:extLst>
              <a:ext uri="{FF2B5EF4-FFF2-40B4-BE49-F238E27FC236}">
                <a16:creationId xmlns:a16="http://schemas.microsoft.com/office/drawing/2014/main" id="{FC8C94FD-2344-890A-E67E-D8E0C8338728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076624"/>
            <a:ext cx="5489213" cy="4982269"/>
          </a:xfrm>
        </p:spPr>
        <p:txBody>
          <a:bodyPr anchor="t"/>
          <a:lstStyle/>
          <a:p>
            <a:endParaRPr lang="nb-NO" dirty="0"/>
          </a:p>
          <a:p>
            <a:r>
              <a:rPr lang="nb-NO" dirty="0"/>
              <a:t>Hvilke erfaringer har vi som tilsier at noe bør gjøres annerledes?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dirty="0"/>
              <a:t>Hva gjorde at samtalen ikke ble så god?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dirty="0"/>
              <a:t>Fikk det negative effekter ut over selve samtalen?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dirty="0"/>
              <a:t>Hva ville du gjort annerledes nå?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D44E89C-EA26-51DE-FF44-9C585E8F7E61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FF9844D-72E5-B044-A000-F3BCA08F601A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79E60DC6-AB1D-CDA5-EAAB-F6E6763C0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rfaringsdeling</a:t>
            </a:r>
          </a:p>
        </p:txBody>
      </p:sp>
      <p:pic>
        <p:nvPicPr>
          <p:cNvPr id="15" name="Bilde 14" descr="Et bilde som inneholder Grafikk, grafisk design, clip art, kunst&#10;&#10;Automatisk generert beskrivelse">
            <a:extLst>
              <a:ext uri="{FF2B5EF4-FFF2-40B4-BE49-F238E27FC236}">
                <a16:creationId xmlns:a16="http://schemas.microsoft.com/office/drawing/2014/main" id="{A7BFEDA9-E077-E55C-EED6-A9CA335C0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4390028" y="3734533"/>
            <a:ext cx="3534156" cy="2985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068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B8555-99A8-C762-8DA0-201A6930C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nhold</a:t>
            </a:r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11D66-03D3-5301-E220-4215B6E7189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5" name="Plassholder for innhold 2">
            <a:extLst>
              <a:ext uri="{FF2B5EF4-FFF2-40B4-BE49-F238E27FC236}">
                <a16:creationId xmlns:a16="http://schemas.microsoft.com/office/drawing/2014/main" id="{6EC68BAC-DBDE-D252-5E04-6BE97309CAB7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038663209"/>
              </p:ext>
            </p:extLst>
          </p:nvPr>
        </p:nvGraphicFramePr>
        <p:xfrm>
          <a:off x="5147038" y="968375"/>
          <a:ext cx="5934533" cy="49212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851079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1">
            <a:extLst>
              <a:ext uri="{FF2B5EF4-FFF2-40B4-BE49-F238E27FC236}">
                <a16:creationId xmlns:a16="http://schemas.microsoft.com/office/drawing/2014/main" id="{E5BEB54F-1F24-6FBC-7F75-FC093B561A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troduksjon</a:t>
            </a:r>
          </a:p>
        </p:txBody>
      </p:sp>
      <p:sp>
        <p:nvSpPr>
          <p:cNvPr id="14" name="Plassholder for innhold 13">
            <a:extLst>
              <a:ext uri="{FF2B5EF4-FFF2-40B4-BE49-F238E27FC236}">
                <a16:creationId xmlns:a16="http://schemas.microsoft.com/office/drawing/2014/main" id="{4E09300F-3003-FD33-6466-55DAF248295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386683"/>
            <a:ext cx="11471910" cy="4869881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Lønn er et viktig, men av og til vanskelig tema for medarbeidere å snakke om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Forventninger </a:t>
            </a:r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hos medarbeider krever at du er profesjonell og har en ryddig tilnærm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Ved å kjenne ditt ansvar og handlingsrom kan du: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skape gode dialoger rundt lønn og karriereutvikling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fremme lønnskrav som tydelig speiler kompetansebehovet i din enhet 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fremme lønnskrav som fremmer likelønn og utjevner urimelige lønnsforskjeller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Målet i dag er at du skal bli kjent med ditt ansvar og handlingsrom i lønnssamtaler og i lønnsforhandlinger ​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446827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F2CFB62-7BA3-4925-827C-489D3F93A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1307" y="768096"/>
            <a:ext cx="11101388" cy="630937"/>
          </a:xfrm>
        </p:spPr>
        <p:txBody>
          <a:bodyPr/>
          <a:lstStyle/>
          <a:p>
            <a:r>
              <a:rPr lang="nb-NO" dirty="0"/>
              <a:t>Hvordan skjer lønnsutvikling i staten?</a:t>
            </a:r>
          </a:p>
        </p:txBody>
      </p:sp>
      <p:graphicFrame>
        <p:nvGraphicFramePr>
          <p:cNvPr id="5" name="Plassholder for innhold 3">
            <a:extLst>
              <a:ext uri="{FF2B5EF4-FFF2-40B4-BE49-F238E27FC236}">
                <a16:creationId xmlns:a16="http://schemas.microsoft.com/office/drawing/2014/main" id="{290E05D6-1F03-4D81-891B-0D3C6CE5B8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9653786"/>
              </p:ext>
            </p:extLst>
          </p:nvPr>
        </p:nvGraphicFramePr>
        <p:xfrm>
          <a:off x="950259" y="1154719"/>
          <a:ext cx="10472550" cy="53581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15698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22743BE-BF40-7808-D8C3-2EFBDBCFD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settes den økonomiske rammen for lokale forhandlinger?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F3976CB4-B4C5-18F5-CF9E-A98E415BA820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627632"/>
            <a:ext cx="11471910" cy="4430969"/>
          </a:xfrm>
        </p:spPr>
        <p:txBody>
          <a:bodyPr/>
          <a:lstStyle/>
          <a:p>
            <a:r>
              <a:rPr lang="nb-NO" dirty="0"/>
              <a:t>Hvert år gjennomføres det sentrale lønnsforhandlinger i staten ​</a:t>
            </a:r>
          </a:p>
          <a:p>
            <a:r>
              <a:rPr lang="nb-NO" dirty="0"/>
              <a:t>Den økonomiske rammen for årets oppgjør settes i de sentrale forhandlingene (1.mai) med Kommunal- og </a:t>
            </a:r>
            <a:r>
              <a:rPr lang="nb-NO" dirty="0" err="1"/>
              <a:t>distriktsdepartementet</a:t>
            </a:r>
            <a:r>
              <a:rPr lang="nb-NO" dirty="0"/>
              <a:t> og hovedsammenslutningene i staten. I forhandlingene besluttes hvor mye av den økonomiske rammen som skal gis som sentrale tillegg, og hvor mye som skal forhandles lokalt i virksomheten </a:t>
            </a:r>
          </a:p>
          <a:p>
            <a:r>
              <a:rPr lang="nb-NO" dirty="0"/>
              <a:t>Det er to hovedtariffavtaler i staten: en for Akademikerne og </a:t>
            </a:r>
            <a:r>
              <a:rPr lang="nb-NO" dirty="0" err="1"/>
              <a:t>Unio</a:t>
            </a:r>
            <a:r>
              <a:rPr lang="nb-NO" dirty="0"/>
              <a:t>, og en for LO og YS </a:t>
            </a:r>
          </a:p>
          <a:p>
            <a:r>
              <a:rPr lang="nb-NO" dirty="0"/>
              <a:t>De uorganiserte skal følge den største lokale avtalen: ved UiO er det Akademikerne og </a:t>
            </a:r>
            <a:r>
              <a:rPr lang="nb-NO" dirty="0" err="1"/>
              <a:t>Unio</a:t>
            </a:r>
            <a:r>
              <a:rPr lang="nb-NO" dirty="0"/>
              <a:t> </a:t>
            </a:r>
          </a:p>
          <a:p>
            <a:endParaRPr lang="nb-NO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9BDA485-17EA-13A8-00F6-8478BB00E589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03EBD11-4E06-EDB2-3CAE-8818ADA59D82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0825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5139AB59-1D88-696E-66DE-9B125339E79A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ln>
            <a:solidFill>
              <a:schemeClr val="tx1"/>
            </a:solidFill>
          </a:ln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917AFC28-22B3-59E9-0C29-220C8BEC70E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nb-NO" b="1" dirty="0"/>
              <a:t>Akademikerne og </a:t>
            </a:r>
            <a:r>
              <a:rPr lang="nb-NO" b="1" dirty="0" err="1"/>
              <a:t>Unio</a:t>
            </a:r>
            <a:endParaRPr lang="nb-NO" b="1" dirty="0"/>
          </a:p>
        </p:txBody>
      </p:sp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C69A8886-815D-D418-6229-1AAFA50EF895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ln>
            <a:solidFill>
              <a:schemeClr val="tx1"/>
            </a:solidFill>
          </a:ln>
        </p:spPr>
        <p:txBody>
          <a:bodyPr/>
          <a:lstStyle/>
          <a:p>
            <a:endParaRPr lang="nb-NO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6B3E29A-FDC2-3ED6-7CCC-2B45F4078650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1633245-AD5B-DB09-9F67-3AE5269C436A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2D87603-2946-0265-8736-D33CE83457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Årets resultat (</a:t>
            </a:r>
            <a:r>
              <a:rPr lang="nb-NO" sz="3000" dirty="0"/>
              <a:t>NB! SETT </a:t>
            </a:r>
            <a:r>
              <a:rPr lang="nb-NO" sz="3000"/>
              <a:t>INN OPPDATERT </a:t>
            </a:r>
            <a:r>
              <a:rPr lang="nb-NO" sz="3000" dirty="0"/>
              <a:t>INFORMASJON</a:t>
            </a:r>
            <a:r>
              <a:rPr lang="nb-NO" dirty="0"/>
              <a:t>)</a:t>
            </a:r>
          </a:p>
        </p:txBody>
      </p:sp>
      <p:sp>
        <p:nvSpPr>
          <p:cNvPr id="7" name="Undertittel 6">
            <a:extLst>
              <a:ext uri="{FF2B5EF4-FFF2-40B4-BE49-F238E27FC236}">
                <a16:creationId xmlns:a16="http://schemas.microsoft.com/office/drawing/2014/main" id="{12E1F464-115E-7269-EDAA-2AF8A4A9809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b="1" dirty="0"/>
              <a:t>LO og YS</a:t>
            </a:r>
          </a:p>
        </p:txBody>
      </p:sp>
    </p:spTree>
    <p:extLst>
      <p:ext uri="{BB962C8B-B14F-4D97-AF65-F5344CB8AC3E}">
        <p14:creationId xmlns:p14="http://schemas.microsoft.com/office/powerpoint/2010/main" val="918053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innhold 10">
            <a:extLst>
              <a:ext uri="{FF2B5EF4-FFF2-40B4-BE49-F238E27FC236}">
                <a16:creationId xmlns:a16="http://schemas.microsoft.com/office/drawing/2014/main" id="{A7184FC3-0738-62D1-CEDD-1D56F993ADD6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638807"/>
            <a:ext cx="11471910" cy="460437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Vurdere lønn til alle ansatte i forbindelse med lokale forhandl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Vurderingen skal skje med bakgrunn i </a:t>
            </a:r>
            <a:r>
              <a:rPr lang="nb-NO" sz="2400" dirty="0">
                <a:hlinkClick r:id="rId2"/>
              </a:rPr>
              <a:t>UiOs lønnspolitikk</a:t>
            </a:r>
            <a:endParaRPr lang="nb-NO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Utforme lønnskrav for dine ansa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Informere om lønnsforhandlingene som ko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Tilby årlig </a:t>
            </a:r>
            <a:r>
              <a:rPr lang="nb-NO" sz="2400" dirty="0"/>
              <a:t>lønnssamt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Jevnlige tilbakemeldinger gjennom året gir bedre grunnlag for felles forståelse og god dialog om lønnsutvikling</a:t>
            </a:r>
            <a:endParaRPr lang="nb-NO" sz="2400" dirty="0"/>
          </a:p>
          <a:p>
            <a:endParaRPr lang="nb-NO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E77604D-AE7A-0611-3D64-72850809C10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651D8AE-D1FD-DB34-3A45-E8C6621EB61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3" name="Tittel 12">
            <a:extLst>
              <a:ext uri="{FF2B5EF4-FFF2-40B4-BE49-F238E27FC236}">
                <a16:creationId xmlns:a16="http://schemas.microsoft.com/office/drawing/2014/main" id="{D8CEC999-58C2-E2D0-4223-866AC991B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4"/>
            <a:ext cx="11471910" cy="884861"/>
          </a:xfrm>
        </p:spPr>
        <p:txBody>
          <a:bodyPr/>
          <a:lstStyle/>
          <a:p>
            <a:r>
              <a:rPr lang="nb-NO" dirty="0"/>
              <a:t>Hva er leders ansvar i forbindelse med lokale lønnsforhandlinger?</a:t>
            </a:r>
          </a:p>
        </p:txBody>
      </p:sp>
    </p:spTree>
    <p:extLst>
      <p:ext uri="{BB962C8B-B14F-4D97-AF65-F5344CB8AC3E}">
        <p14:creationId xmlns:p14="http://schemas.microsoft.com/office/powerpoint/2010/main" val="42556301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9822F-AD0E-CD30-1E8E-F8B42B4CC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jennomføring</a:t>
            </a:r>
            <a:r>
              <a:rPr lang="en-US" dirty="0"/>
              <a:t> av </a:t>
            </a:r>
            <a:r>
              <a:rPr lang="en-US" dirty="0" err="1"/>
              <a:t>lokale</a:t>
            </a:r>
            <a:r>
              <a:rPr lang="en-US" dirty="0"/>
              <a:t> </a:t>
            </a:r>
            <a:r>
              <a:rPr lang="en-US" dirty="0" err="1"/>
              <a:t>forhandlinger</a:t>
            </a:r>
            <a:r>
              <a:rPr lang="en-US" dirty="0"/>
              <a:t> </a:t>
            </a:r>
            <a:r>
              <a:rPr lang="en-US" dirty="0" err="1"/>
              <a:t>ved</a:t>
            </a:r>
            <a:r>
              <a:rPr lang="en-US" dirty="0"/>
              <a:t> UiO</a:t>
            </a:r>
            <a:endParaRPr lang="nb-NO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9B1021-B021-45F3-9AB0-61626648D7BC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278448"/>
            <a:ext cx="11471910" cy="4301103"/>
          </a:xfrm>
        </p:spPr>
        <p:txBody>
          <a:bodyPr/>
          <a:lstStyle/>
          <a:p>
            <a:r>
              <a:rPr lang="en-US" dirty="0" err="1"/>
              <a:t>Forhandlingene</a:t>
            </a:r>
            <a:r>
              <a:rPr lang="en-US" dirty="0"/>
              <a:t> </a:t>
            </a:r>
            <a:r>
              <a:rPr lang="en-US" dirty="0" err="1"/>
              <a:t>skjer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sentralt</a:t>
            </a:r>
            <a:r>
              <a:rPr lang="en-US" dirty="0"/>
              <a:t> </a:t>
            </a:r>
            <a:r>
              <a:rPr lang="en-US" dirty="0" err="1"/>
              <a:t>nivå</a:t>
            </a:r>
            <a:r>
              <a:rPr lang="en-US" dirty="0"/>
              <a:t> </a:t>
            </a:r>
            <a:r>
              <a:rPr lang="en-US" dirty="0" err="1"/>
              <a:t>mellom</a:t>
            </a:r>
            <a:r>
              <a:rPr lang="en-US" dirty="0"/>
              <a:t> UiO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organisasjonene</a:t>
            </a:r>
            <a:r>
              <a:rPr lang="en-US" dirty="0"/>
              <a:t> </a:t>
            </a:r>
          </a:p>
          <a:p>
            <a:r>
              <a:rPr lang="en-US" dirty="0" err="1"/>
              <a:t>Representanter</a:t>
            </a:r>
            <a:r>
              <a:rPr lang="en-US" dirty="0"/>
              <a:t> for </a:t>
            </a:r>
            <a:r>
              <a:rPr lang="en-US" dirty="0" err="1"/>
              <a:t>enhetene</a:t>
            </a:r>
            <a:r>
              <a:rPr lang="en-US" dirty="0"/>
              <a:t> </a:t>
            </a:r>
            <a:r>
              <a:rPr lang="en-US" dirty="0" err="1"/>
              <a:t>deltar</a:t>
            </a:r>
            <a:r>
              <a:rPr lang="en-US" dirty="0"/>
              <a:t> i </a:t>
            </a:r>
            <a:r>
              <a:rPr lang="en-US" dirty="0" err="1"/>
              <a:t>forhandlingene</a:t>
            </a:r>
            <a:endParaRPr lang="en-US" dirty="0"/>
          </a:p>
          <a:p>
            <a:r>
              <a:rPr lang="en-US" dirty="0"/>
              <a:t>SETT INN TILPASSET INFORMASJON FOR ENHETEN (</a:t>
            </a:r>
            <a:r>
              <a:rPr lang="en-US" dirty="0" err="1"/>
              <a:t>hvem</a:t>
            </a:r>
            <a:r>
              <a:rPr lang="en-US" dirty="0"/>
              <a:t> </a:t>
            </a:r>
            <a:r>
              <a:rPr lang="en-US" dirty="0" err="1"/>
              <a:t>forhandler</a:t>
            </a:r>
            <a:r>
              <a:rPr lang="en-US" dirty="0"/>
              <a:t>, </a:t>
            </a:r>
            <a:r>
              <a:rPr lang="en-US" dirty="0" err="1"/>
              <a:t>hvem</a:t>
            </a:r>
            <a:r>
              <a:rPr lang="en-US" dirty="0"/>
              <a:t> sender du </a:t>
            </a:r>
            <a:r>
              <a:rPr lang="en-US" dirty="0" err="1"/>
              <a:t>krav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, </a:t>
            </a:r>
            <a:r>
              <a:rPr lang="en-US" dirty="0" err="1"/>
              <a:t>hvem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hjelpe</a:t>
            </a:r>
            <a:r>
              <a:rPr lang="en-US" dirty="0"/>
              <a:t> deg med </a:t>
            </a:r>
            <a:r>
              <a:rPr lang="en-US" dirty="0" err="1"/>
              <a:t>lønnsstatistikk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informasjon</a:t>
            </a:r>
            <a:r>
              <a:rPr lang="en-US" dirty="0"/>
              <a:t> etc.) </a:t>
            </a:r>
          </a:p>
          <a:p>
            <a:pPr marL="0" indent="0">
              <a:buNone/>
            </a:pPr>
            <a:r>
              <a:rPr lang="en-US" dirty="0"/>
              <a:t> 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3AC6B1-29EF-0092-43EB-438D397716A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F08E24-F678-162B-EDAE-5A3013525E5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6624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6E69B3F-FD21-CB24-FB6D-D668B6CAB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forberede lønnssamtale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34801888-15E2-96C9-1934-A96BA8C896B2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26164" y="1719514"/>
            <a:ext cx="11471910" cy="4778441"/>
          </a:xfrm>
        </p:spPr>
        <p:txBody>
          <a:bodyPr/>
          <a:lstStyle/>
          <a:p>
            <a:r>
              <a:rPr lang="nb-NO" sz="2000" dirty="0"/>
              <a:t>Innkall til et kort møte på f. eks 15-30 minutter</a:t>
            </a:r>
          </a:p>
          <a:p>
            <a:r>
              <a:rPr lang="nb-NO" sz="2000" dirty="0"/>
              <a:t>Ha en kort agenda som inneholder: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Informasjon om forhandlingssystemet og de økonomiske rammene for oppgjøret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Medarbeiders forventinger og ønsk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Hvordan leder vurderer den ansattes lønnsplassering</a:t>
            </a:r>
          </a:p>
          <a:p>
            <a:r>
              <a:rPr lang="nb-NO" sz="2000" dirty="0"/>
              <a:t>Forbered deg godt til lønnssamtalen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Sørg for at du kjenner mekanismene for lønnsendring, og ditt eget handlingsrom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Vurder med bakgrunn i kriteriene i lønnspolitikken. Det bør være sammenheng mellom tilbakemeldinger du har gitt gjennom året og vurderingen du gjør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600" dirty="0"/>
              <a:t>Gjør deg kjent med lønnsstatistikk på UiO og enheten, og vurder om den ansatte er riktig plassert i forhold til kompetanse, ansvar og likelønn. Sammenlikn eventuelt også mot andre. </a:t>
            </a:r>
          </a:p>
          <a:p>
            <a:endParaRPr lang="nb-NO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377092A-F9D9-23D3-2A60-FD5828ACD07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389676" y="5750500"/>
            <a:ext cx="1501215" cy="25923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51D12A1-02CD-F55F-B854-44DC0530E979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598B70D3-E54E-7509-D52A-4D1539C6FF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1726" y="100228"/>
            <a:ext cx="3633531" cy="3566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088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911B26-910F-441A-86DA-EE10B465B6D6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purl.org/dc/elements/1.1/"/>
    <ds:schemaRef ds:uri="45a9c032-1c21-4297-bc4a-1b0e359a6c15"/>
    <ds:schemaRef ds:uri="e5e35b8c-bb2a-40e7-acd7-beed1d1f14b8"/>
    <ds:schemaRef ds:uri="http://www.w3.org/XML/1998/namespace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CD1D2A2B-90F2-4F7A-A7C8-3D551B2C61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3227</TotalTime>
  <Words>901</Words>
  <Application>Microsoft Office PowerPoint</Application>
  <PresentationFormat>Widescreen</PresentationFormat>
  <Paragraphs>116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Arial, sans-serif</vt:lpstr>
      <vt:lpstr>Calibri</vt:lpstr>
      <vt:lpstr>Tw Cen MT Condensed</vt:lpstr>
      <vt:lpstr>Wingdings</vt:lpstr>
      <vt:lpstr>Office Theme</vt:lpstr>
      <vt:lpstr>think-cell Slide</vt:lpstr>
      <vt:lpstr>Forberedelse til lønnssamtale – lønnsforhandlinger i staten  Mal for gjennomgang i ledergrupper - tilpasses lokalt</vt:lpstr>
      <vt:lpstr>Innhold</vt:lpstr>
      <vt:lpstr>Introduksjon</vt:lpstr>
      <vt:lpstr>Hvordan skjer lønnsutvikling i staten?</vt:lpstr>
      <vt:lpstr>Hvordan settes den økonomiske rammen for lokale forhandlinger?</vt:lpstr>
      <vt:lpstr>Årets resultat (NB! SETT INN OPPDATERT INFORMASJON)</vt:lpstr>
      <vt:lpstr>Hva er leders ansvar i forbindelse med lokale lønnsforhandlinger?</vt:lpstr>
      <vt:lpstr>Gjennomføring av lokale forhandlinger ved UiO</vt:lpstr>
      <vt:lpstr>Hvordan forberede lønnssamtale</vt:lpstr>
      <vt:lpstr>Hvordan gjennomføre lønnssamtalen</vt:lpstr>
      <vt:lpstr>«Totalpakka»</vt:lpstr>
      <vt:lpstr>Erfaringsdeling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dun Thorvaldsen</dc:creator>
  <cp:lastModifiedBy>Hege Elisabeth Løvbak</cp:lastModifiedBy>
  <cp:revision>122</cp:revision>
  <cp:lastPrinted>2022-05-09T19:21:04Z</cp:lastPrinted>
  <dcterms:created xsi:type="dcterms:W3CDTF">2022-05-06T06:40:33Z</dcterms:created>
  <dcterms:modified xsi:type="dcterms:W3CDTF">2023-06-29T12:3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